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4484" r:id="rId1"/>
  </p:sldMasterIdLst>
  <p:notesMasterIdLst>
    <p:notesMasterId r:id="rId10"/>
  </p:notesMasterIdLst>
  <p:handoutMasterIdLst>
    <p:handoutMasterId r:id="rId11"/>
  </p:handoutMasterIdLst>
  <p:sldIdLst>
    <p:sldId id="1968" r:id="rId2"/>
    <p:sldId id="297" r:id="rId3"/>
    <p:sldId id="1969" r:id="rId4"/>
    <p:sldId id="1970" r:id="rId5"/>
    <p:sldId id="1971" r:id="rId6"/>
    <p:sldId id="1972" r:id="rId7"/>
    <p:sldId id="1973" r:id="rId8"/>
    <p:sldId id="1974" r:id="rId9"/>
  </p:sldIdLst>
  <p:sldSz cx="12192000" cy="6858000"/>
  <p:notesSz cx="6858000" cy="9144000"/>
  <p:embeddedFontLst>
    <p:embeddedFont>
      <p:font typeface="BatangChe" panose="02030609000101010101" pitchFamily="49" charset="-127"/>
      <p:regular r:id="rId12"/>
    </p:embeddedFont>
    <p:embeddedFont>
      <p:font typeface="Lato Semibold" panose="020F0502020204030203" pitchFamily="34" charset="0"/>
      <p:regular r:id="rId13"/>
      <p:bold r:id="rId14"/>
      <p:italic r:id="rId15"/>
      <p:boldItalic r:id="rId16"/>
    </p:embeddedFont>
    <p:embeddedFont>
      <p:font typeface="Wingdings 3" pitchFamily="2" charset="2"/>
      <p:regular r:id="rId17"/>
    </p:embeddedFont>
  </p:embeddedFontLst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C308"/>
    <a:srgbClr val="5A61A0"/>
    <a:srgbClr val="002BC4"/>
    <a:srgbClr val="1E7BE6"/>
    <a:srgbClr val="FD7627"/>
    <a:srgbClr val="88BF2C"/>
    <a:srgbClr val="053BFF"/>
    <a:srgbClr val="4B72FF"/>
    <a:srgbClr val="001F87"/>
    <a:srgbClr val="FFEA2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156" autoAdjust="0"/>
    <p:restoredTop sz="94660"/>
  </p:normalViewPr>
  <p:slideViewPr>
    <p:cSldViewPr snapToGrid="0">
      <p:cViewPr varScale="1">
        <p:scale>
          <a:sx n="150" d="100"/>
          <a:sy n="150" d="100"/>
        </p:scale>
        <p:origin x="160" y="7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774"/>
    </p:cViewPr>
  </p:sorterViewPr>
  <p:notesViewPr>
    <p:cSldViewPr snapToGrid="0">
      <p:cViewPr varScale="1">
        <p:scale>
          <a:sx n="88" d="100"/>
          <a:sy n="88" d="100"/>
        </p:scale>
        <p:origin x="3872" y="192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2.fntdata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font" Target="fonts/font1.fntdata"/><Relationship Id="rId17" Type="http://schemas.openxmlformats.org/officeDocument/2006/relationships/font" Target="fonts/font6.fntdata"/><Relationship Id="rId2" Type="http://schemas.openxmlformats.org/officeDocument/2006/relationships/slide" Target="slides/slide1.xml"/><Relationship Id="rId16" Type="http://schemas.openxmlformats.org/officeDocument/2006/relationships/font" Target="fonts/font5.fntdata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font" Target="fonts/font4.fntdata"/><Relationship Id="rId10" Type="http://schemas.openxmlformats.org/officeDocument/2006/relationships/notesMaster" Target="notesMasters/notesMaster1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3.fntdata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8CD2C08-64BB-4E1E-9AE3-A707EA15258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A214A3-0CF3-48CE-A7AA-2C6072EFC2C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4539F0-EF17-4135-960C-B5441AD7BE8D}" type="datetimeFigureOut">
              <a:rPr lang="en-US" smtClean="0">
                <a:latin typeface="Arial" panose="020B0604020202020204" pitchFamily="34" charset="0"/>
              </a:rPr>
              <a:t>9/18/19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0EEABF4-B62E-4F4F-AB38-0965844738D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FACEAE8-DD4E-4FDF-9268-718B6A686AE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8B446E-4F07-403E-BF41-B7B29C8CA48C}" type="slidenum">
              <a:rPr lang="en-US" smtClean="0">
                <a:latin typeface="Arial" panose="020B0604020202020204" pitchFamily="34" charset="0"/>
              </a:rPr>
              <a:t>‹Nr.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013457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E47DA482-11F4-4714-A1C7-9A90733BADE9}" type="datetimeFigureOut">
              <a:rPr lang="en-US" smtClean="0"/>
              <a:pPr/>
              <a:t>9/18/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DD076295-620E-4F3C-95A6-6AFF0D3A9339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5108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oleObject" Target="../embeddings/oleObject6.bin"/><Relationship Id="rId18" Type="http://schemas.openxmlformats.org/officeDocument/2006/relationships/oleObject" Target="../embeddings/oleObject10.bin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slideMaster" Target="../slideMasters/slideMaster1.xml"/><Relationship Id="rId17" Type="http://schemas.openxmlformats.org/officeDocument/2006/relationships/oleObject" Target="../embeddings/oleObject9.bin"/><Relationship Id="rId2" Type="http://schemas.openxmlformats.org/officeDocument/2006/relationships/tags" Target="../tags/tag12.xml"/><Relationship Id="rId16" Type="http://schemas.openxmlformats.org/officeDocument/2006/relationships/oleObject" Target="../embeddings/oleObject8.bin"/><Relationship Id="rId1" Type="http://schemas.openxmlformats.org/officeDocument/2006/relationships/vmlDrawing" Target="../drawings/vmlDrawing2.v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5" Type="http://schemas.openxmlformats.org/officeDocument/2006/relationships/tags" Target="../tags/tag15.xml"/><Relationship Id="rId15" Type="http://schemas.openxmlformats.org/officeDocument/2006/relationships/oleObject" Target="../embeddings/oleObject7.bin"/><Relationship Id="rId10" Type="http://schemas.openxmlformats.org/officeDocument/2006/relationships/tags" Target="../tags/tag20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141153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header and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2" y="314313"/>
            <a:ext cx="7476887" cy="66674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Inhaltsplatzhalter 6"/>
          <p:cNvSpPr>
            <a:spLocks noGrp="1"/>
          </p:cNvSpPr>
          <p:nvPr>
            <p:ph sz="quarter" idx="15" hasCustomPrompt="1"/>
          </p:nvPr>
        </p:nvSpPr>
        <p:spPr>
          <a:xfrm>
            <a:off x="442913" y="1794141"/>
            <a:ext cx="7476886" cy="4514583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extplatzhalter 8"/>
          <p:cNvSpPr>
            <a:spLocks noGrp="1"/>
          </p:cNvSpPr>
          <p:nvPr>
            <p:ph type="body" sz="quarter" idx="17"/>
          </p:nvPr>
        </p:nvSpPr>
        <p:spPr>
          <a:xfrm>
            <a:off x="442914" y="1342800"/>
            <a:ext cx="7476886" cy="432000"/>
          </a:xfrm>
        </p:spPr>
        <p:txBody>
          <a:bodyPr anchor="t">
            <a:norm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4112E69-8C20-4A11-8A3A-82B1D1C13FD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380802" y="0"/>
            <a:ext cx="3408815" cy="6858000"/>
          </a:xfrm>
          <a:custGeom>
            <a:avLst/>
            <a:gdLst>
              <a:gd name="connsiteX0" fmla="*/ 0 w 3408815"/>
              <a:gd name="connsiteY0" fmla="*/ 0 h 6858000"/>
              <a:gd name="connsiteX1" fmla="*/ 3159858 w 3408815"/>
              <a:gd name="connsiteY1" fmla="*/ 0 h 6858000"/>
              <a:gd name="connsiteX2" fmla="*/ 3023800 w 3408815"/>
              <a:gd name="connsiteY2" fmla="*/ 610131 h 6858000"/>
              <a:gd name="connsiteX3" fmla="*/ 3174853 w 3408815"/>
              <a:gd name="connsiteY3" fmla="*/ 493085 h 6858000"/>
              <a:gd name="connsiteX4" fmla="*/ 3174332 w 3408815"/>
              <a:gd name="connsiteY4" fmla="*/ 495433 h 6858000"/>
              <a:gd name="connsiteX5" fmla="*/ 2884694 w 3408815"/>
              <a:gd name="connsiteY5" fmla="*/ 2908481 h 6858000"/>
              <a:gd name="connsiteX6" fmla="*/ 2630100 w 3408815"/>
              <a:gd name="connsiteY6" fmla="*/ 3340586 h 6858000"/>
              <a:gd name="connsiteX7" fmla="*/ 3408815 w 3408815"/>
              <a:gd name="connsiteY7" fmla="*/ 6858000 h 6858000"/>
              <a:gd name="connsiteX8" fmla="*/ 0 w 3408815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08815" h="6858000">
                <a:moveTo>
                  <a:pt x="0" y="0"/>
                </a:moveTo>
                <a:lnTo>
                  <a:pt x="3159858" y="0"/>
                </a:lnTo>
                <a:lnTo>
                  <a:pt x="3023800" y="610131"/>
                </a:lnTo>
                <a:lnTo>
                  <a:pt x="3174853" y="493085"/>
                </a:lnTo>
                <a:lnTo>
                  <a:pt x="3174332" y="495433"/>
                </a:lnTo>
                <a:lnTo>
                  <a:pt x="2884694" y="2908481"/>
                </a:lnTo>
                <a:lnTo>
                  <a:pt x="2630100" y="3340586"/>
                </a:lnTo>
                <a:lnTo>
                  <a:pt x="340881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894398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B108E184-8719-48C3-AB1F-12CD8B5E9DEA}"/>
              </a:ext>
            </a:extLst>
          </p:cNvPr>
          <p:cNvSpPr/>
          <p:nvPr/>
        </p:nvSpPr>
        <p:spPr>
          <a:xfrm>
            <a:off x="0" y="0"/>
            <a:ext cx="698500" cy="1612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475181" y="1341437"/>
            <a:ext cx="6335732" cy="4967288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4FBD792-BBA8-4A8D-9B60-789C9757AB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5181" y="317661"/>
            <a:ext cx="6335732" cy="78406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51DE645-24A4-4410-9629-695C20BF7C2F}"/>
              </a:ext>
            </a:extLst>
          </p:cNvPr>
          <p:cNvSpPr/>
          <p:nvPr/>
        </p:nvSpPr>
        <p:spPr>
          <a:xfrm>
            <a:off x="0" y="0"/>
            <a:ext cx="698500" cy="1612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841BF36-36D5-4AC3-918D-FCDE94AD102E}"/>
              </a:ext>
            </a:extLst>
          </p:cNvPr>
          <p:cNvSpPr/>
          <p:nvPr/>
        </p:nvSpPr>
        <p:spPr>
          <a:xfrm>
            <a:off x="4277714" y="364332"/>
            <a:ext cx="76200" cy="64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D29B44A-57E4-436D-B227-39B1C97C7780}"/>
              </a:ext>
            </a:extLst>
          </p:cNvPr>
          <p:cNvSpPr/>
          <p:nvPr userDrawn="1"/>
        </p:nvSpPr>
        <p:spPr>
          <a:xfrm>
            <a:off x="0" y="0"/>
            <a:ext cx="698500" cy="1612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5B8CF453-B057-4706-8662-0475963D6E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3175" y="1587"/>
            <a:ext cx="3575609" cy="6858000"/>
          </a:xfrm>
          <a:custGeom>
            <a:avLst/>
            <a:gdLst>
              <a:gd name="connsiteX0" fmla="*/ 0 w 3575609"/>
              <a:gd name="connsiteY0" fmla="*/ 0 h 6858000"/>
              <a:gd name="connsiteX1" fmla="*/ 3070396 w 3575609"/>
              <a:gd name="connsiteY1" fmla="*/ 545053 h 6858000"/>
              <a:gd name="connsiteX2" fmla="*/ 3575609 w 3575609"/>
              <a:gd name="connsiteY2" fmla="*/ 3248472 h 6858000"/>
              <a:gd name="connsiteX3" fmla="*/ 3228494 w 3575609"/>
              <a:gd name="connsiteY3" fmla="*/ 5579179 h 6858000"/>
              <a:gd name="connsiteX4" fmla="*/ 1728322 w 3575609"/>
              <a:gd name="connsiteY4" fmla="*/ 6858000 h 6858000"/>
              <a:gd name="connsiteX5" fmla="*/ 0 w 3575609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5609" h="6858000">
                <a:moveTo>
                  <a:pt x="0" y="0"/>
                </a:moveTo>
                <a:lnTo>
                  <a:pt x="3070396" y="545053"/>
                </a:lnTo>
                <a:lnTo>
                  <a:pt x="3575609" y="3248472"/>
                </a:lnTo>
                <a:lnTo>
                  <a:pt x="3228494" y="5579179"/>
                </a:lnTo>
                <a:lnTo>
                  <a:pt x="172832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9CEFB45E-E530-4FD3-A96A-09C31B2B314E}"/>
              </a:ext>
            </a:extLst>
          </p:cNvPr>
          <p:cNvGrpSpPr/>
          <p:nvPr userDrawn="1"/>
        </p:nvGrpSpPr>
        <p:grpSpPr>
          <a:xfrm>
            <a:off x="-3176" y="1588"/>
            <a:ext cx="3914776" cy="6858000"/>
            <a:chOff x="-3176" y="1588"/>
            <a:chExt cx="3914776" cy="6858000"/>
          </a:xfrm>
        </p:grpSpPr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59EBA989-95BD-44E5-9FFB-0F1C880799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176" y="1588"/>
              <a:ext cx="3088343" cy="548239"/>
            </a:xfrm>
            <a:custGeom>
              <a:avLst/>
              <a:gdLst>
                <a:gd name="T0" fmla="*/ 1719 w 1719"/>
                <a:gd name="T1" fmla="*/ 328 h 328"/>
                <a:gd name="T2" fmla="*/ 1638 w 1719"/>
                <a:gd name="T3" fmla="*/ 0 h 328"/>
                <a:gd name="T4" fmla="*/ 0 w 1719"/>
                <a:gd name="T5" fmla="*/ 0 h 328"/>
                <a:gd name="T6" fmla="*/ 1719 w 1719"/>
                <a:gd name="T7" fmla="*/ 328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19" h="328">
                  <a:moveTo>
                    <a:pt x="1719" y="328"/>
                  </a:moveTo>
                  <a:lnTo>
                    <a:pt x="1638" y="0"/>
                  </a:lnTo>
                  <a:lnTo>
                    <a:pt x="0" y="0"/>
                  </a:lnTo>
                  <a:lnTo>
                    <a:pt x="1719" y="32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5">
              <a:extLst>
                <a:ext uri="{FF2B5EF4-FFF2-40B4-BE49-F238E27FC236}">
                  <a16:creationId xmlns:a16="http://schemas.microsoft.com/office/drawing/2014/main" id="{48D11407-27F7-46B1-A429-3F0550FA4D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39643" y="1588"/>
              <a:ext cx="930635" cy="3256004"/>
            </a:xfrm>
            <a:custGeom>
              <a:avLst/>
              <a:gdLst>
                <a:gd name="T0" fmla="*/ 518 w 518"/>
                <a:gd name="T1" fmla="*/ 747 h 1948"/>
                <a:gd name="T2" fmla="*/ 0 w 518"/>
                <a:gd name="T3" fmla="*/ 0 h 1948"/>
                <a:gd name="T4" fmla="*/ 51 w 518"/>
                <a:gd name="T5" fmla="*/ 211 h 1948"/>
                <a:gd name="T6" fmla="*/ 353 w 518"/>
                <a:gd name="T7" fmla="*/ 1948 h 1948"/>
                <a:gd name="T8" fmla="*/ 518 w 518"/>
                <a:gd name="T9" fmla="*/ 747 h 1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8" h="1948">
                  <a:moveTo>
                    <a:pt x="518" y="747"/>
                  </a:moveTo>
                  <a:lnTo>
                    <a:pt x="0" y="0"/>
                  </a:lnTo>
                  <a:lnTo>
                    <a:pt x="51" y="211"/>
                  </a:lnTo>
                  <a:lnTo>
                    <a:pt x="353" y="1948"/>
                  </a:lnTo>
                  <a:lnTo>
                    <a:pt x="518" y="747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6">
              <a:extLst>
                <a:ext uri="{FF2B5EF4-FFF2-40B4-BE49-F238E27FC236}">
                  <a16:creationId xmlns:a16="http://schemas.microsoft.com/office/drawing/2014/main" id="{18501D1D-CFFF-446C-9ABF-A45B6BCC7B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27098" y="3257592"/>
              <a:ext cx="684502" cy="2321657"/>
            </a:xfrm>
            <a:custGeom>
              <a:avLst/>
              <a:gdLst>
                <a:gd name="T0" fmla="*/ 381 w 381"/>
                <a:gd name="T1" fmla="*/ 1041 h 1389"/>
                <a:gd name="T2" fmla="*/ 0 w 381"/>
                <a:gd name="T3" fmla="*/ 1389 h 1389"/>
                <a:gd name="T4" fmla="*/ 193 w 381"/>
                <a:gd name="T5" fmla="*/ 0 h 1389"/>
                <a:gd name="T6" fmla="*/ 381 w 381"/>
                <a:gd name="T7" fmla="*/ 1041 h 1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1" h="1389">
                  <a:moveTo>
                    <a:pt x="381" y="1041"/>
                  </a:moveTo>
                  <a:lnTo>
                    <a:pt x="0" y="1389"/>
                  </a:lnTo>
                  <a:lnTo>
                    <a:pt x="193" y="0"/>
                  </a:lnTo>
                  <a:lnTo>
                    <a:pt x="381" y="1041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7">
              <a:extLst>
                <a:ext uri="{FF2B5EF4-FFF2-40B4-BE49-F238E27FC236}">
                  <a16:creationId xmlns:a16="http://schemas.microsoft.com/office/drawing/2014/main" id="{C9DA93C9-A065-4597-9BED-6A4B7C3BEE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5146" y="5579250"/>
              <a:ext cx="1501951" cy="1280338"/>
            </a:xfrm>
            <a:custGeom>
              <a:avLst/>
              <a:gdLst>
                <a:gd name="T0" fmla="*/ 0 w 836"/>
                <a:gd name="T1" fmla="*/ 766 h 766"/>
                <a:gd name="T2" fmla="*/ 729 w 836"/>
                <a:gd name="T3" fmla="*/ 766 h 766"/>
                <a:gd name="T4" fmla="*/ 836 w 836"/>
                <a:gd name="T5" fmla="*/ 0 h 766"/>
                <a:gd name="T6" fmla="*/ 0 w 836"/>
                <a:gd name="T7" fmla="*/ 766 h 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36" h="766">
                  <a:moveTo>
                    <a:pt x="0" y="766"/>
                  </a:moveTo>
                  <a:lnTo>
                    <a:pt x="729" y="766"/>
                  </a:lnTo>
                  <a:lnTo>
                    <a:pt x="836" y="0"/>
                  </a:lnTo>
                  <a:lnTo>
                    <a:pt x="0" y="766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174106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eader, content and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4FBD792-BBA8-4A8D-9B60-789C9757AB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5181" y="317661"/>
            <a:ext cx="6335732" cy="78406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B5918646-B0B6-4E26-8700-1B438F12B16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475181" y="1794141"/>
            <a:ext cx="6335732" cy="4514583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platzhalter 8">
            <a:extLst>
              <a:ext uri="{FF2B5EF4-FFF2-40B4-BE49-F238E27FC236}">
                <a16:creationId xmlns:a16="http://schemas.microsoft.com/office/drawing/2014/main" id="{168B2A05-49A4-4930-9FF4-E4556FF950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75182" y="1342800"/>
            <a:ext cx="6335732" cy="432000"/>
          </a:xfrm>
        </p:spPr>
        <p:txBody>
          <a:bodyPr anchor="t">
            <a:norm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D8D63A6-E9A9-4D6D-A182-EF480A428F7A}"/>
              </a:ext>
            </a:extLst>
          </p:cNvPr>
          <p:cNvSpPr/>
          <p:nvPr/>
        </p:nvSpPr>
        <p:spPr>
          <a:xfrm>
            <a:off x="0" y="0"/>
            <a:ext cx="698500" cy="1612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5933989-24F5-4956-A56D-F20718DBFA91}"/>
              </a:ext>
            </a:extLst>
          </p:cNvPr>
          <p:cNvSpPr/>
          <p:nvPr/>
        </p:nvSpPr>
        <p:spPr>
          <a:xfrm>
            <a:off x="0" y="0"/>
            <a:ext cx="698500" cy="1612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474AE87-A4C7-4A22-8F12-8C18AF100541}"/>
              </a:ext>
            </a:extLst>
          </p:cNvPr>
          <p:cNvSpPr/>
          <p:nvPr/>
        </p:nvSpPr>
        <p:spPr>
          <a:xfrm>
            <a:off x="4277714" y="364333"/>
            <a:ext cx="76200" cy="62684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B6783C9-F0BE-4979-BDBC-8C08BCF1253F}"/>
              </a:ext>
            </a:extLst>
          </p:cNvPr>
          <p:cNvSpPr/>
          <p:nvPr userDrawn="1"/>
        </p:nvSpPr>
        <p:spPr>
          <a:xfrm>
            <a:off x="0" y="0"/>
            <a:ext cx="698500" cy="1612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E017325-C4EE-4F7B-8567-EB291390AD2E}"/>
              </a:ext>
            </a:extLst>
          </p:cNvPr>
          <p:cNvSpPr/>
          <p:nvPr userDrawn="1"/>
        </p:nvSpPr>
        <p:spPr>
          <a:xfrm>
            <a:off x="4277714" y="364332"/>
            <a:ext cx="76200" cy="64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4EE0BCB7-5702-42A1-808E-0184FAAE7FE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3175" y="1587"/>
            <a:ext cx="3575609" cy="6858000"/>
          </a:xfrm>
          <a:custGeom>
            <a:avLst/>
            <a:gdLst>
              <a:gd name="connsiteX0" fmla="*/ 0 w 3575609"/>
              <a:gd name="connsiteY0" fmla="*/ 0 h 6858000"/>
              <a:gd name="connsiteX1" fmla="*/ 3070396 w 3575609"/>
              <a:gd name="connsiteY1" fmla="*/ 545053 h 6858000"/>
              <a:gd name="connsiteX2" fmla="*/ 3575609 w 3575609"/>
              <a:gd name="connsiteY2" fmla="*/ 3248472 h 6858000"/>
              <a:gd name="connsiteX3" fmla="*/ 3228494 w 3575609"/>
              <a:gd name="connsiteY3" fmla="*/ 5579179 h 6858000"/>
              <a:gd name="connsiteX4" fmla="*/ 1728322 w 3575609"/>
              <a:gd name="connsiteY4" fmla="*/ 6858000 h 6858000"/>
              <a:gd name="connsiteX5" fmla="*/ 0 w 3575609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5609" h="6858000">
                <a:moveTo>
                  <a:pt x="0" y="0"/>
                </a:moveTo>
                <a:lnTo>
                  <a:pt x="3070396" y="545053"/>
                </a:lnTo>
                <a:lnTo>
                  <a:pt x="3575609" y="3248472"/>
                </a:lnTo>
                <a:lnTo>
                  <a:pt x="3228494" y="5579179"/>
                </a:lnTo>
                <a:lnTo>
                  <a:pt x="172832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778C7E9-2EE8-4B11-979F-EF770D80B3D3}"/>
              </a:ext>
            </a:extLst>
          </p:cNvPr>
          <p:cNvGrpSpPr/>
          <p:nvPr userDrawn="1"/>
        </p:nvGrpSpPr>
        <p:grpSpPr>
          <a:xfrm>
            <a:off x="-3176" y="1588"/>
            <a:ext cx="3914776" cy="6858000"/>
            <a:chOff x="-3176" y="1588"/>
            <a:chExt cx="3914776" cy="6858000"/>
          </a:xfrm>
        </p:grpSpPr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C07F8AA8-F568-450D-8961-BB3CDFDDA3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176" y="1588"/>
              <a:ext cx="3088343" cy="548239"/>
            </a:xfrm>
            <a:custGeom>
              <a:avLst/>
              <a:gdLst>
                <a:gd name="T0" fmla="*/ 1719 w 1719"/>
                <a:gd name="T1" fmla="*/ 328 h 328"/>
                <a:gd name="T2" fmla="*/ 1638 w 1719"/>
                <a:gd name="T3" fmla="*/ 0 h 328"/>
                <a:gd name="T4" fmla="*/ 0 w 1719"/>
                <a:gd name="T5" fmla="*/ 0 h 328"/>
                <a:gd name="T6" fmla="*/ 1719 w 1719"/>
                <a:gd name="T7" fmla="*/ 328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19" h="328">
                  <a:moveTo>
                    <a:pt x="1719" y="328"/>
                  </a:moveTo>
                  <a:lnTo>
                    <a:pt x="1638" y="0"/>
                  </a:lnTo>
                  <a:lnTo>
                    <a:pt x="0" y="0"/>
                  </a:lnTo>
                  <a:lnTo>
                    <a:pt x="1719" y="32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5">
              <a:extLst>
                <a:ext uri="{FF2B5EF4-FFF2-40B4-BE49-F238E27FC236}">
                  <a16:creationId xmlns:a16="http://schemas.microsoft.com/office/drawing/2014/main" id="{336D31FB-1992-4715-86FF-C2B1CA2F80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39643" y="1588"/>
              <a:ext cx="930635" cy="3256004"/>
            </a:xfrm>
            <a:custGeom>
              <a:avLst/>
              <a:gdLst>
                <a:gd name="T0" fmla="*/ 518 w 518"/>
                <a:gd name="T1" fmla="*/ 747 h 1948"/>
                <a:gd name="T2" fmla="*/ 0 w 518"/>
                <a:gd name="T3" fmla="*/ 0 h 1948"/>
                <a:gd name="T4" fmla="*/ 51 w 518"/>
                <a:gd name="T5" fmla="*/ 211 h 1948"/>
                <a:gd name="T6" fmla="*/ 353 w 518"/>
                <a:gd name="T7" fmla="*/ 1948 h 1948"/>
                <a:gd name="T8" fmla="*/ 518 w 518"/>
                <a:gd name="T9" fmla="*/ 747 h 1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8" h="1948">
                  <a:moveTo>
                    <a:pt x="518" y="747"/>
                  </a:moveTo>
                  <a:lnTo>
                    <a:pt x="0" y="0"/>
                  </a:lnTo>
                  <a:lnTo>
                    <a:pt x="51" y="211"/>
                  </a:lnTo>
                  <a:lnTo>
                    <a:pt x="353" y="1948"/>
                  </a:lnTo>
                  <a:lnTo>
                    <a:pt x="518" y="747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6">
              <a:extLst>
                <a:ext uri="{FF2B5EF4-FFF2-40B4-BE49-F238E27FC236}">
                  <a16:creationId xmlns:a16="http://schemas.microsoft.com/office/drawing/2014/main" id="{3455B48B-44B6-4B41-8756-ACB7132157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27098" y="3257592"/>
              <a:ext cx="684502" cy="2321657"/>
            </a:xfrm>
            <a:custGeom>
              <a:avLst/>
              <a:gdLst>
                <a:gd name="T0" fmla="*/ 381 w 381"/>
                <a:gd name="T1" fmla="*/ 1041 h 1389"/>
                <a:gd name="T2" fmla="*/ 0 w 381"/>
                <a:gd name="T3" fmla="*/ 1389 h 1389"/>
                <a:gd name="T4" fmla="*/ 193 w 381"/>
                <a:gd name="T5" fmla="*/ 0 h 1389"/>
                <a:gd name="T6" fmla="*/ 381 w 381"/>
                <a:gd name="T7" fmla="*/ 1041 h 1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1" h="1389">
                  <a:moveTo>
                    <a:pt x="381" y="1041"/>
                  </a:moveTo>
                  <a:lnTo>
                    <a:pt x="0" y="1389"/>
                  </a:lnTo>
                  <a:lnTo>
                    <a:pt x="193" y="0"/>
                  </a:lnTo>
                  <a:lnTo>
                    <a:pt x="381" y="1041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7">
              <a:extLst>
                <a:ext uri="{FF2B5EF4-FFF2-40B4-BE49-F238E27FC236}">
                  <a16:creationId xmlns:a16="http://schemas.microsoft.com/office/drawing/2014/main" id="{D1B7D2AE-5903-47E8-AF57-B16835FD15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5146" y="5579250"/>
              <a:ext cx="1501951" cy="1280338"/>
            </a:xfrm>
            <a:custGeom>
              <a:avLst/>
              <a:gdLst>
                <a:gd name="T0" fmla="*/ 0 w 836"/>
                <a:gd name="T1" fmla="*/ 766 h 766"/>
                <a:gd name="T2" fmla="*/ 729 w 836"/>
                <a:gd name="T3" fmla="*/ 766 h 766"/>
                <a:gd name="T4" fmla="*/ 836 w 836"/>
                <a:gd name="T5" fmla="*/ 0 h 766"/>
                <a:gd name="T6" fmla="*/ 0 w 836"/>
                <a:gd name="T7" fmla="*/ 766 h 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36" h="766">
                  <a:moveTo>
                    <a:pt x="0" y="766"/>
                  </a:moveTo>
                  <a:lnTo>
                    <a:pt x="729" y="766"/>
                  </a:lnTo>
                  <a:lnTo>
                    <a:pt x="836" y="0"/>
                  </a:lnTo>
                  <a:lnTo>
                    <a:pt x="0" y="766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263226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ur Agenda">
    <p:bg>
      <p:bgPr>
        <a:gradFill>
          <a:gsLst>
            <a:gs pos="5000">
              <a:schemeClr val="accent1"/>
            </a:gs>
            <a:gs pos="100000">
              <a:schemeClr val="accent2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 44">
            <a:extLst>
              <a:ext uri="{FF2B5EF4-FFF2-40B4-BE49-F238E27FC236}">
                <a16:creationId xmlns:a16="http://schemas.microsoft.com/office/drawing/2014/main" id="{69196B9C-0D13-41C0-B8B0-CDC040CD2C61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256 w 290"/>
              <a:gd name="T11" fmla="*/ 323 h 375"/>
              <a:gd name="T12" fmla="*/ 143 w 290"/>
              <a:gd name="T13" fmla="*/ 313 h 375"/>
              <a:gd name="T14" fmla="*/ 222 w 290"/>
              <a:gd name="T15" fmla="*/ 273 h 375"/>
              <a:gd name="T16" fmla="*/ 18 w 290"/>
              <a:gd name="T17" fmla="*/ 95 h 375"/>
              <a:gd name="T18" fmla="*/ 3 w 290"/>
              <a:gd name="T19" fmla="*/ 83 h 375"/>
              <a:gd name="T20" fmla="*/ 3 w 290"/>
              <a:gd name="T21" fmla="*/ 83 h 375"/>
              <a:gd name="T22" fmla="*/ 0 w 290"/>
              <a:gd name="T23" fmla="*/ 80 h 375"/>
              <a:gd name="T24" fmla="*/ 4 w 290"/>
              <a:gd name="T25" fmla="*/ 21 h 375"/>
              <a:gd name="T26" fmla="*/ 139 w 290"/>
              <a:gd name="T27" fmla="*/ 0 h 375"/>
              <a:gd name="T28" fmla="*/ 147 w 290"/>
              <a:gd name="T29" fmla="*/ 0 h 375"/>
              <a:gd name="T30" fmla="*/ 215 w 290"/>
              <a:gd name="T31" fmla="*/ 11 h 375"/>
              <a:gd name="T32" fmla="*/ 230 w 290"/>
              <a:gd name="T33" fmla="*/ 13 h 375"/>
              <a:gd name="T34" fmla="*/ 267 w 290"/>
              <a:gd name="T35" fmla="*/ 19 h 375"/>
              <a:gd name="T36" fmla="*/ 290 w 290"/>
              <a:gd name="T37" fmla="*/ 46 h 375"/>
              <a:gd name="T38" fmla="*/ 290 w 290"/>
              <a:gd name="T39" fmla="*/ 118 h 375"/>
              <a:gd name="T40" fmla="*/ 230 w 290"/>
              <a:gd name="T41" fmla="*/ 144 h 375"/>
              <a:gd name="T42" fmla="*/ 230 w 290"/>
              <a:gd name="T43" fmla="*/ 74 h 375"/>
              <a:gd name="T44" fmla="*/ 143 w 290"/>
              <a:gd name="T45" fmla="*/ 61 h 375"/>
              <a:gd name="T46" fmla="*/ 81 w 290"/>
              <a:gd name="T47" fmla="*/ 71 h 375"/>
              <a:gd name="T48" fmla="*/ 96 w 290"/>
              <a:gd name="T49" fmla="*/ 83 h 375"/>
              <a:gd name="T50" fmla="*/ 96 w 290"/>
              <a:gd name="T51" fmla="*/ 83 h 375"/>
              <a:gd name="T52" fmla="*/ 283 w 290"/>
              <a:gd name="T53" fmla="*/ 247 h 375"/>
              <a:gd name="T54" fmla="*/ 283 w 290"/>
              <a:gd name="T55" fmla="*/ 247 h 375"/>
              <a:gd name="T56" fmla="*/ 288 w 290"/>
              <a:gd name="T57" fmla="*/ 250 h 375"/>
              <a:gd name="T58" fmla="*/ 283 w 290"/>
              <a:gd name="T59" fmla="*/ 309 h 375"/>
              <a:gd name="T60" fmla="*/ 270 w 290"/>
              <a:gd name="T61" fmla="*/ 316 h 375"/>
              <a:gd name="T62" fmla="*/ 258 w 290"/>
              <a:gd name="T63" fmla="*/ 322 h 375"/>
              <a:gd name="T64" fmla="*/ 156 w 290"/>
              <a:gd name="T65" fmla="*/ 375 h 375"/>
              <a:gd name="T66" fmla="*/ 131 w 290"/>
              <a:gd name="T67" fmla="*/ 375 h 375"/>
              <a:gd name="T68" fmla="*/ 31 w 290"/>
              <a:gd name="T69" fmla="*/ 323 h 375"/>
              <a:gd name="T70" fmla="*/ 31 w 290"/>
              <a:gd name="T71" fmla="*/ 323 h 375"/>
              <a:gd name="T72" fmla="*/ 18 w 290"/>
              <a:gd name="T73" fmla="*/ 316 h 375"/>
              <a:gd name="T74" fmla="*/ 16 w 290"/>
              <a:gd name="T75" fmla="*/ 316 h 375"/>
              <a:gd name="T76" fmla="*/ 4 w 290"/>
              <a:gd name="T77" fmla="*/ 309 h 375"/>
              <a:gd name="T78" fmla="*/ 0 w 290"/>
              <a:gd name="T79" fmla="*/ 250 h 375"/>
              <a:gd name="T80" fmla="*/ 86 w 290"/>
              <a:gd name="T81" fmla="*/ 175 h 375"/>
              <a:gd name="T82" fmla="*/ 132 w 290"/>
              <a:gd name="T83" fmla="*/ 215 h 375"/>
              <a:gd name="T84" fmla="*/ 65 w 290"/>
              <a:gd name="T85" fmla="*/ 273 h 375"/>
              <a:gd name="T86" fmla="*/ 143 w 290"/>
              <a:gd name="T87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close/>
                <a:moveTo>
                  <a:pt x="256" y="323"/>
                </a:moveTo>
                <a:lnTo>
                  <a:pt x="258" y="322"/>
                </a:lnTo>
                <a:lnTo>
                  <a:pt x="256" y="323"/>
                </a:lnTo>
                <a:close/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  <a:close/>
              </a:path>
            </a:pathLst>
          </a:custGeom>
          <a:solidFill>
            <a:schemeClr val="accent1">
              <a:lumMod val="75000"/>
              <a:alpha val="14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" name="Freeform 45">
            <a:extLst>
              <a:ext uri="{FF2B5EF4-FFF2-40B4-BE49-F238E27FC236}">
                <a16:creationId xmlns:a16="http://schemas.microsoft.com/office/drawing/2014/main" id="{FA26C795-A228-45BC-9FD6-9F4B38F5758E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DB99AAB-A718-4449-AB16-AE61CF4E51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4" y="317661"/>
            <a:ext cx="10367999" cy="78406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C0A2E23-A9FB-4DCE-BDDE-21E279ABE4A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913" y="1341436"/>
            <a:ext cx="5194094" cy="4967287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Freeform 45">
            <a:extLst>
              <a:ext uri="{FF2B5EF4-FFF2-40B4-BE49-F238E27FC236}">
                <a16:creationId xmlns:a16="http://schemas.microsoft.com/office/drawing/2014/main" id="{3E472225-1D27-4171-9A1F-DC18E9984C54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E286623-E934-4C3F-85AA-1B9B6C9F44EF}"/>
              </a:ext>
            </a:extLst>
          </p:cNvPr>
          <p:cNvSpPr/>
          <p:nvPr/>
        </p:nvSpPr>
        <p:spPr>
          <a:xfrm>
            <a:off x="240702" y="360844"/>
            <a:ext cx="76200" cy="626849"/>
          </a:xfrm>
          <a:prstGeom prst="rect">
            <a:avLst/>
          </a:prstGeom>
          <a:solidFill>
            <a:schemeClr val="accent5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Freeform 45">
            <a:extLst>
              <a:ext uri="{FF2B5EF4-FFF2-40B4-BE49-F238E27FC236}">
                <a16:creationId xmlns:a16="http://schemas.microsoft.com/office/drawing/2014/main" id="{8ABE9E57-EEE0-4438-BA8E-527B3E7B117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CCE8CE4-6F6D-4D6E-BA70-62B67A8FBAAA}"/>
              </a:ext>
            </a:extLst>
          </p:cNvPr>
          <p:cNvSpPr/>
          <p:nvPr userDrawn="1"/>
        </p:nvSpPr>
        <p:spPr>
          <a:xfrm>
            <a:off x="240702" y="360844"/>
            <a:ext cx="76200" cy="626849"/>
          </a:xfrm>
          <a:prstGeom prst="rect">
            <a:avLst/>
          </a:prstGeom>
          <a:solidFill>
            <a:schemeClr val="accent5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52228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Slide 1">
    <p:bg>
      <p:bgPr>
        <a:gradFill>
          <a:gsLst>
            <a:gs pos="5000">
              <a:schemeClr val="accent1"/>
            </a:gs>
            <a:gs pos="100000">
              <a:schemeClr val="accent2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 44">
            <a:extLst>
              <a:ext uri="{FF2B5EF4-FFF2-40B4-BE49-F238E27FC236}">
                <a16:creationId xmlns:a16="http://schemas.microsoft.com/office/drawing/2014/main" id="{69196B9C-0D13-41C0-B8B0-CDC040CD2C61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256 w 290"/>
              <a:gd name="T11" fmla="*/ 323 h 375"/>
              <a:gd name="T12" fmla="*/ 143 w 290"/>
              <a:gd name="T13" fmla="*/ 313 h 375"/>
              <a:gd name="T14" fmla="*/ 222 w 290"/>
              <a:gd name="T15" fmla="*/ 273 h 375"/>
              <a:gd name="T16" fmla="*/ 18 w 290"/>
              <a:gd name="T17" fmla="*/ 95 h 375"/>
              <a:gd name="T18" fmla="*/ 3 w 290"/>
              <a:gd name="T19" fmla="*/ 83 h 375"/>
              <a:gd name="T20" fmla="*/ 3 w 290"/>
              <a:gd name="T21" fmla="*/ 83 h 375"/>
              <a:gd name="T22" fmla="*/ 0 w 290"/>
              <a:gd name="T23" fmla="*/ 80 h 375"/>
              <a:gd name="T24" fmla="*/ 4 w 290"/>
              <a:gd name="T25" fmla="*/ 21 h 375"/>
              <a:gd name="T26" fmla="*/ 139 w 290"/>
              <a:gd name="T27" fmla="*/ 0 h 375"/>
              <a:gd name="T28" fmla="*/ 147 w 290"/>
              <a:gd name="T29" fmla="*/ 0 h 375"/>
              <a:gd name="T30" fmla="*/ 215 w 290"/>
              <a:gd name="T31" fmla="*/ 11 h 375"/>
              <a:gd name="T32" fmla="*/ 230 w 290"/>
              <a:gd name="T33" fmla="*/ 13 h 375"/>
              <a:gd name="T34" fmla="*/ 267 w 290"/>
              <a:gd name="T35" fmla="*/ 19 h 375"/>
              <a:gd name="T36" fmla="*/ 290 w 290"/>
              <a:gd name="T37" fmla="*/ 46 h 375"/>
              <a:gd name="T38" fmla="*/ 290 w 290"/>
              <a:gd name="T39" fmla="*/ 118 h 375"/>
              <a:gd name="T40" fmla="*/ 230 w 290"/>
              <a:gd name="T41" fmla="*/ 144 h 375"/>
              <a:gd name="T42" fmla="*/ 230 w 290"/>
              <a:gd name="T43" fmla="*/ 74 h 375"/>
              <a:gd name="T44" fmla="*/ 143 w 290"/>
              <a:gd name="T45" fmla="*/ 61 h 375"/>
              <a:gd name="T46" fmla="*/ 81 w 290"/>
              <a:gd name="T47" fmla="*/ 71 h 375"/>
              <a:gd name="T48" fmla="*/ 96 w 290"/>
              <a:gd name="T49" fmla="*/ 83 h 375"/>
              <a:gd name="T50" fmla="*/ 96 w 290"/>
              <a:gd name="T51" fmla="*/ 83 h 375"/>
              <a:gd name="T52" fmla="*/ 283 w 290"/>
              <a:gd name="T53" fmla="*/ 247 h 375"/>
              <a:gd name="T54" fmla="*/ 283 w 290"/>
              <a:gd name="T55" fmla="*/ 247 h 375"/>
              <a:gd name="T56" fmla="*/ 288 w 290"/>
              <a:gd name="T57" fmla="*/ 250 h 375"/>
              <a:gd name="T58" fmla="*/ 283 w 290"/>
              <a:gd name="T59" fmla="*/ 309 h 375"/>
              <a:gd name="T60" fmla="*/ 270 w 290"/>
              <a:gd name="T61" fmla="*/ 316 h 375"/>
              <a:gd name="T62" fmla="*/ 258 w 290"/>
              <a:gd name="T63" fmla="*/ 322 h 375"/>
              <a:gd name="T64" fmla="*/ 156 w 290"/>
              <a:gd name="T65" fmla="*/ 375 h 375"/>
              <a:gd name="T66" fmla="*/ 131 w 290"/>
              <a:gd name="T67" fmla="*/ 375 h 375"/>
              <a:gd name="T68" fmla="*/ 31 w 290"/>
              <a:gd name="T69" fmla="*/ 323 h 375"/>
              <a:gd name="T70" fmla="*/ 31 w 290"/>
              <a:gd name="T71" fmla="*/ 323 h 375"/>
              <a:gd name="T72" fmla="*/ 18 w 290"/>
              <a:gd name="T73" fmla="*/ 316 h 375"/>
              <a:gd name="T74" fmla="*/ 16 w 290"/>
              <a:gd name="T75" fmla="*/ 316 h 375"/>
              <a:gd name="T76" fmla="*/ 4 w 290"/>
              <a:gd name="T77" fmla="*/ 309 h 375"/>
              <a:gd name="T78" fmla="*/ 0 w 290"/>
              <a:gd name="T79" fmla="*/ 250 h 375"/>
              <a:gd name="T80" fmla="*/ 86 w 290"/>
              <a:gd name="T81" fmla="*/ 175 h 375"/>
              <a:gd name="T82" fmla="*/ 132 w 290"/>
              <a:gd name="T83" fmla="*/ 215 h 375"/>
              <a:gd name="T84" fmla="*/ 65 w 290"/>
              <a:gd name="T85" fmla="*/ 273 h 375"/>
              <a:gd name="T86" fmla="*/ 143 w 290"/>
              <a:gd name="T87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close/>
                <a:moveTo>
                  <a:pt x="256" y="323"/>
                </a:moveTo>
                <a:lnTo>
                  <a:pt x="258" y="322"/>
                </a:lnTo>
                <a:lnTo>
                  <a:pt x="256" y="323"/>
                </a:lnTo>
                <a:close/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  <a:close/>
              </a:path>
            </a:pathLst>
          </a:custGeom>
          <a:solidFill>
            <a:schemeClr val="accent1">
              <a:lumMod val="75000"/>
              <a:alpha val="14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" name="Freeform 45">
            <a:extLst>
              <a:ext uri="{FF2B5EF4-FFF2-40B4-BE49-F238E27FC236}">
                <a16:creationId xmlns:a16="http://schemas.microsoft.com/office/drawing/2014/main" id="{FA26C795-A228-45BC-9FD6-9F4B38F5758E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45">
            <a:extLst>
              <a:ext uri="{FF2B5EF4-FFF2-40B4-BE49-F238E27FC236}">
                <a16:creationId xmlns:a16="http://schemas.microsoft.com/office/drawing/2014/main" id="{3E472225-1D27-4171-9A1F-DC18E9984C54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1576C2A-F971-4013-B5C9-628794A2B3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4559300"/>
            <a:ext cx="4814887" cy="481467"/>
          </a:xfrm>
        </p:spPr>
        <p:txBody>
          <a:bodyPr anchor="b">
            <a:no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F0262607-5D9E-4C0E-85EF-C58325EA407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2913" y="5063331"/>
            <a:ext cx="4814887" cy="998538"/>
          </a:xfrm>
        </p:spPr>
        <p:txBody>
          <a:bodyPr>
            <a:no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Freeform 44">
            <a:extLst>
              <a:ext uri="{FF2B5EF4-FFF2-40B4-BE49-F238E27FC236}">
                <a16:creationId xmlns:a16="http://schemas.microsoft.com/office/drawing/2014/main" id="{8CBB30A4-3CAE-403A-B477-882D83D5CB3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256 w 290"/>
              <a:gd name="T11" fmla="*/ 323 h 375"/>
              <a:gd name="T12" fmla="*/ 143 w 290"/>
              <a:gd name="T13" fmla="*/ 313 h 375"/>
              <a:gd name="T14" fmla="*/ 222 w 290"/>
              <a:gd name="T15" fmla="*/ 273 h 375"/>
              <a:gd name="T16" fmla="*/ 18 w 290"/>
              <a:gd name="T17" fmla="*/ 95 h 375"/>
              <a:gd name="T18" fmla="*/ 3 w 290"/>
              <a:gd name="T19" fmla="*/ 83 h 375"/>
              <a:gd name="T20" fmla="*/ 3 w 290"/>
              <a:gd name="T21" fmla="*/ 83 h 375"/>
              <a:gd name="T22" fmla="*/ 0 w 290"/>
              <a:gd name="T23" fmla="*/ 80 h 375"/>
              <a:gd name="T24" fmla="*/ 4 w 290"/>
              <a:gd name="T25" fmla="*/ 21 h 375"/>
              <a:gd name="T26" fmla="*/ 139 w 290"/>
              <a:gd name="T27" fmla="*/ 0 h 375"/>
              <a:gd name="T28" fmla="*/ 147 w 290"/>
              <a:gd name="T29" fmla="*/ 0 h 375"/>
              <a:gd name="T30" fmla="*/ 215 w 290"/>
              <a:gd name="T31" fmla="*/ 11 h 375"/>
              <a:gd name="T32" fmla="*/ 230 w 290"/>
              <a:gd name="T33" fmla="*/ 13 h 375"/>
              <a:gd name="T34" fmla="*/ 267 w 290"/>
              <a:gd name="T35" fmla="*/ 19 h 375"/>
              <a:gd name="T36" fmla="*/ 290 w 290"/>
              <a:gd name="T37" fmla="*/ 46 h 375"/>
              <a:gd name="T38" fmla="*/ 290 w 290"/>
              <a:gd name="T39" fmla="*/ 118 h 375"/>
              <a:gd name="T40" fmla="*/ 230 w 290"/>
              <a:gd name="T41" fmla="*/ 144 h 375"/>
              <a:gd name="T42" fmla="*/ 230 w 290"/>
              <a:gd name="T43" fmla="*/ 74 h 375"/>
              <a:gd name="T44" fmla="*/ 143 w 290"/>
              <a:gd name="T45" fmla="*/ 61 h 375"/>
              <a:gd name="T46" fmla="*/ 81 w 290"/>
              <a:gd name="T47" fmla="*/ 71 h 375"/>
              <a:gd name="T48" fmla="*/ 96 w 290"/>
              <a:gd name="T49" fmla="*/ 83 h 375"/>
              <a:gd name="T50" fmla="*/ 96 w 290"/>
              <a:gd name="T51" fmla="*/ 83 h 375"/>
              <a:gd name="T52" fmla="*/ 283 w 290"/>
              <a:gd name="T53" fmla="*/ 247 h 375"/>
              <a:gd name="T54" fmla="*/ 283 w 290"/>
              <a:gd name="T55" fmla="*/ 247 h 375"/>
              <a:gd name="T56" fmla="*/ 288 w 290"/>
              <a:gd name="T57" fmla="*/ 250 h 375"/>
              <a:gd name="T58" fmla="*/ 283 w 290"/>
              <a:gd name="T59" fmla="*/ 309 h 375"/>
              <a:gd name="T60" fmla="*/ 270 w 290"/>
              <a:gd name="T61" fmla="*/ 316 h 375"/>
              <a:gd name="T62" fmla="*/ 258 w 290"/>
              <a:gd name="T63" fmla="*/ 322 h 375"/>
              <a:gd name="T64" fmla="*/ 156 w 290"/>
              <a:gd name="T65" fmla="*/ 375 h 375"/>
              <a:gd name="T66" fmla="*/ 131 w 290"/>
              <a:gd name="T67" fmla="*/ 375 h 375"/>
              <a:gd name="T68" fmla="*/ 31 w 290"/>
              <a:gd name="T69" fmla="*/ 323 h 375"/>
              <a:gd name="T70" fmla="*/ 31 w 290"/>
              <a:gd name="T71" fmla="*/ 323 h 375"/>
              <a:gd name="T72" fmla="*/ 18 w 290"/>
              <a:gd name="T73" fmla="*/ 316 h 375"/>
              <a:gd name="T74" fmla="*/ 16 w 290"/>
              <a:gd name="T75" fmla="*/ 316 h 375"/>
              <a:gd name="T76" fmla="*/ 4 w 290"/>
              <a:gd name="T77" fmla="*/ 309 h 375"/>
              <a:gd name="T78" fmla="*/ 0 w 290"/>
              <a:gd name="T79" fmla="*/ 250 h 375"/>
              <a:gd name="T80" fmla="*/ 86 w 290"/>
              <a:gd name="T81" fmla="*/ 175 h 375"/>
              <a:gd name="T82" fmla="*/ 132 w 290"/>
              <a:gd name="T83" fmla="*/ 215 h 375"/>
              <a:gd name="T84" fmla="*/ 65 w 290"/>
              <a:gd name="T85" fmla="*/ 273 h 375"/>
              <a:gd name="T86" fmla="*/ 143 w 290"/>
              <a:gd name="T87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close/>
                <a:moveTo>
                  <a:pt x="256" y="323"/>
                </a:moveTo>
                <a:lnTo>
                  <a:pt x="258" y="322"/>
                </a:lnTo>
                <a:lnTo>
                  <a:pt x="256" y="323"/>
                </a:lnTo>
                <a:close/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  <a:close/>
              </a:path>
            </a:pathLst>
          </a:custGeom>
          <a:solidFill>
            <a:schemeClr val="accent1">
              <a:lumMod val="75000"/>
              <a:alpha val="14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Freeform 45">
            <a:extLst>
              <a:ext uri="{FF2B5EF4-FFF2-40B4-BE49-F238E27FC236}">
                <a16:creationId xmlns:a16="http://schemas.microsoft.com/office/drawing/2014/main" id="{5C12A34D-0C8C-4AFF-AC66-5FDE57F850A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80281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Slide 2">
    <p:bg>
      <p:bgPr>
        <a:gradFill>
          <a:gsLst>
            <a:gs pos="3000">
              <a:srgbClr val="88BF2C"/>
            </a:gs>
            <a:gs pos="100000">
              <a:srgbClr val="BBDD8E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4559300"/>
            <a:ext cx="4814887" cy="481467"/>
          </a:xfrm>
        </p:spPr>
        <p:txBody>
          <a:bodyPr anchor="b">
            <a:no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442913" y="5063331"/>
            <a:ext cx="4814887" cy="998538"/>
          </a:xfrm>
        </p:spPr>
        <p:txBody>
          <a:bodyPr>
            <a:no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Freeform 44">
            <a:extLst>
              <a:ext uri="{FF2B5EF4-FFF2-40B4-BE49-F238E27FC236}">
                <a16:creationId xmlns:a16="http://schemas.microsoft.com/office/drawing/2014/main" id="{69196B9C-0D13-41C0-B8B0-CDC040CD2C61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256 w 290"/>
              <a:gd name="T11" fmla="*/ 323 h 375"/>
              <a:gd name="T12" fmla="*/ 143 w 290"/>
              <a:gd name="T13" fmla="*/ 313 h 375"/>
              <a:gd name="T14" fmla="*/ 222 w 290"/>
              <a:gd name="T15" fmla="*/ 273 h 375"/>
              <a:gd name="T16" fmla="*/ 18 w 290"/>
              <a:gd name="T17" fmla="*/ 95 h 375"/>
              <a:gd name="T18" fmla="*/ 3 w 290"/>
              <a:gd name="T19" fmla="*/ 83 h 375"/>
              <a:gd name="T20" fmla="*/ 3 w 290"/>
              <a:gd name="T21" fmla="*/ 83 h 375"/>
              <a:gd name="T22" fmla="*/ 0 w 290"/>
              <a:gd name="T23" fmla="*/ 80 h 375"/>
              <a:gd name="T24" fmla="*/ 4 w 290"/>
              <a:gd name="T25" fmla="*/ 21 h 375"/>
              <a:gd name="T26" fmla="*/ 139 w 290"/>
              <a:gd name="T27" fmla="*/ 0 h 375"/>
              <a:gd name="T28" fmla="*/ 147 w 290"/>
              <a:gd name="T29" fmla="*/ 0 h 375"/>
              <a:gd name="T30" fmla="*/ 215 w 290"/>
              <a:gd name="T31" fmla="*/ 11 h 375"/>
              <a:gd name="T32" fmla="*/ 230 w 290"/>
              <a:gd name="T33" fmla="*/ 13 h 375"/>
              <a:gd name="T34" fmla="*/ 267 w 290"/>
              <a:gd name="T35" fmla="*/ 19 h 375"/>
              <a:gd name="T36" fmla="*/ 290 w 290"/>
              <a:gd name="T37" fmla="*/ 46 h 375"/>
              <a:gd name="T38" fmla="*/ 290 w 290"/>
              <a:gd name="T39" fmla="*/ 118 h 375"/>
              <a:gd name="T40" fmla="*/ 230 w 290"/>
              <a:gd name="T41" fmla="*/ 144 h 375"/>
              <a:gd name="T42" fmla="*/ 230 w 290"/>
              <a:gd name="T43" fmla="*/ 74 h 375"/>
              <a:gd name="T44" fmla="*/ 143 w 290"/>
              <a:gd name="T45" fmla="*/ 61 h 375"/>
              <a:gd name="T46" fmla="*/ 81 w 290"/>
              <a:gd name="T47" fmla="*/ 71 h 375"/>
              <a:gd name="T48" fmla="*/ 96 w 290"/>
              <a:gd name="T49" fmla="*/ 83 h 375"/>
              <a:gd name="T50" fmla="*/ 96 w 290"/>
              <a:gd name="T51" fmla="*/ 83 h 375"/>
              <a:gd name="T52" fmla="*/ 283 w 290"/>
              <a:gd name="T53" fmla="*/ 247 h 375"/>
              <a:gd name="T54" fmla="*/ 283 w 290"/>
              <a:gd name="T55" fmla="*/ 247 h 375"/>
              <a:gd name="T56" fmla="*/ 288 w 290"/>
              <a:gd name="T57" fmla="*/ 250 h 375"/>
              <a:gd name="T58" fmla="*/ 283 w 290"/>
              <a:gd name="T59" fmla="*/ 309 h 375"/>
              <a:gd name="T60" fmla="*/ 270 w 290"/>
              <a:gd name="T61" fmla="*/ 316 h 375"/>
              <a:gd name="T62" fmla="*/ 258 w 290"/>
              <a:gd name="T63" fmla="*/ 322 h 375"/>
              <a:gd name="T64" fmla="*/ 156 w 290"/>
              <a:gd name="T65" fmla="*/ 375 h 375"/>
              <a:gd name="T66" fmla="*/ 131 w 290"/>
              <a:gd name="T67" fmla="*/ 375 h 375"/>
              <a:gd name="T68" fmla="*/ 31 w 290"/>
              <a:gd name="T69" fmla="*/ 323 h 375"/>
              <a:gd name="T70" fmla="*/ 31 w 290"/>
              <a:gd name="T71" fmla="*/ 323 h 375"/>
              <a:gd name="T72" fmla="*/ 18 w 290"/>
              <a:gd name="T73" fmla="*/ 316 h 375"/>
              <a:gd name="T74" fmla="*/ 16 w 290"/>
              <a:gd name="T75" fmla="*/ 316 h 375"/>
              <a:gd name="T76" fmla="*/ 4 w 290"/>
              <a:gd name="T77" fmla="*/ 309 h 375"/>
              <a:gd name="T78" fmla="*/ 0 w 290"/>
              <a:gd name="T79" fmla="*/ 250 h 375"/>
              <a:gd name="T80" fmla="*/ 86 w 290"/>
              <a:gd name="T81" fmla="*/ 175 h 375"/>
              <a:gd name="T82" fmla="*/ 132 w 290"/>
              <a:gd name="T83" fmla="*/ 215 h 375"/>
              <a:gd name="T84" fmla="*/ 65 w 290"/>
              <a:gd name="T85" fmla="*/ 273 h 375"/>
              <a:gd name="T86" fmla="*/ 143 w 290"/>
              <a:gd name="T87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close/>
                <a:moveTo>
                  <a:pt x="256" y="323"/>
                </a:moveTo>
                <a:lnTo>
                  <a:pt x="258" y="322"/>
                </a:lnTo>
                <a:lnTo>
                  <a:pt x="256" y="323"/>
                </a:lnTo>
                <a:close/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  <a:close/>
              </a:path>
            </a:pathLst>
          </a:custGeom>
          <a:solidFill>
            <a:srgbClr val="679222">
              <a:alpha val="12941"/>
            </a:srgb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" name="Freeform 45">
            <a:extLst>
              <a:ext uri="{FF2B5EF4-FFF2-40B4-BE49-F238E27FC236}">
                <a16:creationId xmlns:a16="http://schemas.microsoft.com/office/drawing/2014/main" id="{FA26C795-A228-45BC-9FD6-9F4B38F5758E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reeform 45">
            <a:extLst>
              <a:ext uri="{FF2B5EF4-FFF2-40B4-BE49-F238E27FC236}">
                <a16:creationId xmlns:a16="http://schemas.microsoft.com/office/drawing/2014/main" id="{B5261605-C785-4FC0-A7B0-EA4964B75F38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45">
            <a:extLst>
              <a:ext uri="{FF2B5EF4-FFF2-40B4-BE49-F238E27FC236}">
                <a16:creationId xmlns:a16="http://schemas.microsoft.com/office/drawing/2014/main" id="{EED6F321-78E0-48CC-A48B-DE3B4E6F73F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466098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Slide 3">
    <p:bg>
      <p:bgPr>
        <a:gradFill>
          <a:gsLst>
            <a:gs pos="5000">
              <a:srgbClr val="FD7627"/>
            </a:gs>
            <a:gs pos="100000">
              <a:srgbClr val="FEA06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4559300"/>
            <a:ext cx="4814887" cy="481467"/>
          </a:xfrm>
        </p:spPr>
        <p:txBody>
          <a:bodyPr anchor="b">
            <a:no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442913" y="5063331"/>
            <a:ext cx="4814887" cy="998538"/>
          </a:xfrm>
        </p:spPr>
        <p:txBody>
          <a:bodyPr>
            <a:no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Freeform 44">
            <a:extLst>
              <a:ext uri="{FF2B5EF4-FFF2-40B4-BE49-F238E27FC236}">
                <a16:creationId xmlns:a16="http://schemas.microsoft.com/office/drawing/2014/main" id="{69196B9C-0D13-41C0-B8B0-CDC040CD2C61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256 w 290"/>
              <a:gd name="T11" fmla="*/ 323 h 375"/>
              <a:gd name="T12" fmla="*/ 143 w 290"/>
              <a:gd name="T13" fmla="*/ 313 h 375"/>
              <a:gd name="T14" fmla="*/ 222 w 290"/>
              <a:gd name="T15" fmla="*/ 273 h 375"/>
              <a:gd name="T16" fmla="*/ 18 w 290"/>
              <a:gd name="T17" fmla="*/ 95 h 375"/>
              <a:gd name="T18" fmla="*/ 3 w 290"/>
              <a:gd name="T19" fmla="*/ 83 h 375"/>
              <a:gd name="T20" fmla="*/ 3 w 290"/>
              <a:gd name="T21" fmla="*/ 83 h 375"/>
              <a:gd name="T22" fmla="*/ 0 w 290"/>
              <a:gd name="T23" fmla="*/ 80 h 375"/>
              <a:gd name="T24" fmla="*/ 4 w 290"/>
              <a:gd name="T25" fmla="*/ 21 h 375"/>
              <a:gd name="T26" fmla="*/ 139 w 290"/>
              <a:gd name="T27" fmla="*/ 0 h 375"/>
              <a:gd name="T28" fmla="*/ 147 w 290"/>
              <a:gd name="T29" fmla="*/ 0 h 375"/>
              <a:gd name="T30" fmla="*/ 215 w 290"/>
              <a:gd name="T31" fmla="*/ 11 h 375"/>
              <a:gd name="T32" fmla="*/ 230 w 290"/>
              <a:gd name="T33" fmla="*/ 13 h 375"/>
              <a:gd name="T34" fmla="*/ 267 w 290"/>
              <a:gd name="T35" fmla="*/ 19 h 375"/>
              <a:gd name="T36" fmla="*/ 290 w 290"/>
              <a:gd name="T37" fmla="*/ 46 h 375"/>
              <a:gd name="T38" fmla="*/ 290 w 290"/>
              <a:gd name="T39" fmla="*/ 118 h 375"/>
              <a:gd name="T40" fmla="*/ 230 w 290"/>
              <a:gd name="T41" fmla="*/ 144 h 375"/>
              <a:gd name="T42" fmla="*/ 230 w 290"/>
              <a:gd name="T43" fmla="*/ 74 h 375"/>
              <a:gd name="T44" fmla="*/ 143 w 290"/>
              <a:gd name="T45" fmla="*/ 61 h 375"/>
              <a:gd name="T46" fmla="*/ 81 w 290"/>
              <a:gd name="T47" fmla="*/ 71 h 375"/>
              <a:gd name="T48" fmla="*/ 96 w 290"/>
              <a:gd name="T49" fmla="*/ 83 h 375"/>
              <a:gd name="T50" fmla="*/ 96 w 290"/>
              <a:gd name="T51" fmla="*/ 83 h 375"/>
              <a:gd name="T52" fmla="*/ 283 w 290"/>
              <a:gd name="T53" fmla="*/ 247 h 375"/>
              <a:gd name="T54" fmla="*/ 283 w 290"/>
              <a:gd name="T55" fmla="*/ 247 h 375"/>
              <a:gd name="T56" fmla="*/ 288 w 290"/>
              <a:gd name="T57" fmla="*/ 250 h 375"/>
              <a:gd name="T58" fmla="*/ 283 w 290"/>
              <a:gd name="T59" fmla="*/ 309 h 375"/>
              <a:gd name="T60" fmla="*/ 270 w 290"/>
              <a:gd name="T61" fmla="*/ 316 h 375"/>
              <a:gd name="T62" fmla="*/ 258 w 290"/>
              <a:gd name="T63" fmla="*/ 322 h 375"/>
              <a:gd name="T64" fmla="*/ 156 w 290"/>
              <a:gd name="T65" fmla="*/ 375 h 375"/>
              <a:gd name="T66" fmla="*/ 131 w 290"/>
              <a:gd name="T67" fmla="*/ 375 h 375"/>
              <a:gd name="T68" fmla="*/ 31 w 290"/>
              <a:gd name="T69" fmla="*/ 323 h 375"/>
              <a:gd name="T70" fmla="*/ 31 w 290"/>
              <a:gd name="T71" fmla="*/ 323 h 375"/>
              <a:gd name="T72" fmla="*/ 18 w 290"/>
              <a:gd name="T73" fmla="*/ 316 h 375"/>
              <a:gd name="T74" fmla="*/ 16 w 290"/>
              <a:gd name="T75" fmla="*/ 316 h 375"/>
              <a:gd name="T76" fmla="*/ 4 w 290"/>
              <a:gd name="T77" fmla="*/ 309 h 375"/>
              <a:gd name="T78" fmla="*/ 0 w 290"/>
              <a:gd name="T79" fmla="*/ 250 h 375"/>
              <a:gd name="T80" fmla="*/ 86 w 290"/>
              <a:gd name="T81" fmla="*/ 175 h 375"/>
              <a:gd name="T82" fmla="*/ 132 w 290"/>
              <a:gd name="T83" fmla="*/ 215 h 375"/>
              <a:gd name="T84" fmla="*/ 65 w 290"/>
              <a:gd name="T85" fmla="*/ 273 h 375"/>
              <a:gd name="T86" fmla="*/ 143 w 290"/>
              <a:gd name="T87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close/>
                <a:moveTo>
                  <a:pt x="256" y="323"/>
                </a:moveTo>
                <a:lnTo>
                  <a:pt x="258" y="322"/>
                </a:lnTo>
                <a:lnTo>
                  <a:pt x="256" y="323"/>
                </a:lnTo>
                <a:close/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  <a:close/>
              </a:path>
            </a:pathLst>
          </a:custGeom>
          <a:solidFill>
            <a:srgbClr val="D44A05">
              <a:alpha val="15000"/>
            </a:srgb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" name="Freeform 45">
            <a:extLst>
              <a:ext uri="{FF2B5EF4-FFF2-40B4-BE49-F238E27FC236}">
                <a16:creationId xmlns:a16="http://schemas.microsoft.com/office/drawing/2014/main" id="{FA26C795-A228-45BC-9FD6-9F4B38F5758E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reeform 45">
            <a:extLst>
              <a:ext uri="{FF2B5EF4-FFF2-40B4-BE49-F238E27FC236}">
                <a16:creationId xmlns:a16="http://schemas.microsoft.com/office/drawing/2014/main" id="{6A835F36-E47E-47AC-B3CF-2ABAEE737E7D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45">
            <a:extLst>
              <a:ext uri="{FF2B5EF4-FFF2-40B4-BE49-F238E27FC236}">
                <a16:creationId xmlns:a16="http://schemas.microsoft.com/office/drawing/2014/main" id="{F8CFF4A3-24D0-4B2E-9126-1FE636815A77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61080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Slide 4">
    <p:bg>
      <p:bgPr>
        <a:gradFill>
          <a:gsLst>
            <a:gs pos="5000">
              <a:srgbClr val="1E7BE6"/>
            </a:gs>
            <a:gs pos="100000">
              <a:srgbClr val="74B7F3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4559300"/>
            <a:ext cx="4814887" cy="481467"/>
          </a:xfrm>
        </p:spPr>
        <p:txBody>
          <a:bodyPr anchor="b">
            <a:no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442913" y="5063331"/>
            <a:ext cx="4814887" cy="998538"/>
          </a:xfrm>
        </p:spPr>
        <p:txBody>
          <a:bodyPr>
            <a:no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Freeform 44">
            <a:extLst>
              <a:ext uri="{FF2B5EF4-FFF2-40B4-BE49-F238E27FC236}">
                <a16:creationId xmlns:a16="http://schemas.microsoft.com/office/drawing/2014/main" id="{69196B9C-0D13-41C0-B8B0-CDC040CD2C61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256 w 290"/>
              <a:gd name="T11" fmla="*/ 323 h 375"/>
              <a:gd name="T12" fmla="*/ 143 w 290"/>
              <a:gd name="T13" fmla="*/ 313 h 375"/>
              <a:gd name="T14" fmla="*/ 222 w 290"/>
              <a:gd name="T15" fmla="*/ 273 h 375"/>
              <a:gd name="T16" fmla="*/ 18 w 290"/>
              <a:gd name="T17" fmla="*/ 95 h 375"/>
              <a:gd name="T18" fmla="*/ 3 w 290"/>
              <a:gd name="T19" fmla="*/ 83 h 375"/>
              <a:gd name="T20" fmla="*/ 3 w 290"/>
              <a:gd name="T21" fmla="*/ 83 h 375"/>
              <a:gd name="T22" fmla="*/ 0 w 290"/>
              <a:gd name="T23" fmla="*/ 80 h 375"/>
              <a:gd name="T24" fmla="*/ 4 w 290"/>
              <a:gd name="T25" fmla="*/ 21 h 375"/>
              <a:gd name="T26" fmla="*/ 139 w 290"/>
              <a:gd name="T27" fmla="*/ 0 h 375"/>
              <a:gd name="T28" fmla="*/ 147 w 290"/>
              <a:gd name="T29" fmla="*/ 0 h 375"/>
              <a:gd name="T30" fmla="*/ 215 w 290"/>
              <a:gd name="T31" fmla="*/ 11 h 375"/>
              <a:gd name="T32" fmla="*/ 230 w 290"/>
              <a:gd name="T33" fmla="*/ 13 h 375"/>
              <a:gd name="T34" fmla="*/ 267 w 290"/>
              <a:gd name="T35" fmla="*/ 19 h 375"/>
              <a:gd name="T36" fmla="*/ 290 w 290"/>
              <a:gd name="T37" fmla="*/ 46 h 375"/>
              <a:gd name="T38" fmla="*/ 290 w 290"/>
              <a:gd name="T39" fmla="*/ 118 h 375"/>
              <a:gd name="T40" fmla="*/ 230 w 290"/>
              <a:gd name="T41" fmla="*/ 144 h 375"/>
              <a:gd name="T42" fmla="*/ 230 w 290"/>
              <a:gd name="T43" fmla="*/ 74 h 375"/>
              <a:gd name="T44" fmla="*/ 143 w 290"/>
              <a:gd name="T45" fmla="*/ 61 h 375"/>
              <a:gd name="T46" fmla="*/ 81 w 290"/>
              <a:gd name="T47" fmla="*/ 71 h 375"/>
              <a:gd name="T48" fmla="*/ 96 w 290"/>
              <a:gd name="T49" fmla="*/ 83 h 375"/>
              <a:gd name="T50" fmla="*/ 96 w 290"/>
              <a:gd name="T51" fmla="*/ 83 h 375"/>
              <a:gd name="T52" fmla="*/ 283 w 290"/>
              <a:gd name="T53" fmla="*/ 247 h 375"/>
              <a:gd name="T54" fmla="*/ 283 w 290"/>
              <a:gd name="T55" fmla="*/ 247 h 375"/>
              <a:gd name="T56" fmla="*/ 288 w 290"/>
              <a:gd name="T57" fmla="*/ 250 h 375"/>
              <a:gd name="T58" fmla="*/ 283 w 290"/>
              <a:gd name="T59" fmla="*/ 309 h 375"/>
              <a:gd name="T60" fmla="*/ 270 w 290"/>
              <a:gd name="T61" fmla="*/ 316 h 375"/>
              <a:gd name="T62" fmla="*/ 258 w 290"/>
              <a:gd name="T63" fmla="*/ 322 h 375"/>
              <a:gd name="T64" fmla="*/ 156 w 290"/>
              <a:gd name="T65" fmla="*/ 375 h 375"/>
              <a:gd name="T66" fmla="*/ 131 w 290"/>
              <a:gd name="T67" fmla="*/ 375 h 375"/>
              <a:gd name="T68" fmla="*/ 31 w 290"/>
              <a:gd name="T69" fmla="*/ 323 h 375"/>
              <a:gd name="T70" fmla="*/ 31 w 290"/>
              <a:gd name="T71" fmla="*/ 323 h 375"/>
              <a:gd name="T72" fmla="*/ 18 w 290"/>
              <a:gd name="T73" fmla="*/ 316 h 375"/>
              <a:gd name="T74" fmla="*/ 16 w 290"/>
              <a:gd name="T75" fmla="*/ 316 h 375"/>
              <a:gd name="T76" fmla="*/ 4 w 290"/>
              <a:gd name="T77" fmla="*/ 309 h 375"/>
              <a:gd name="T78" fmla="*/ 0 w 290"/>
              <a:gd name="T79" fmla="*/ 250 h 375"/>
              <a:gd name="T80" fmla="*/ 86 w 290"/>
              <a:gd name="T81" fmla="*/ 175 h 375"/>
              <a:gd name="T82" fmla="*/ 132 w 290"/>
              <a:gd name="T83" fmla="*/ 215 h 375"/>
              <a:gd name="T84" fmla="*/ 65 w 290"/>
              <a:gd name="T85" fmla="*/ 273 h 375"/>
              <a:gd name="T86" fmla="*/ 143 w 290"/>
              <a:gd name="T87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close/>
                <a:moveTo>
                  <a:pt x="256" y="323"/>
                </a:moveTo>
                <a:lnTo>
                  <a:pt x="258" y="322"/>
                </a:lnTo>
                <a:lnTo>
                  <a:pt x="256" y="323"/>
                </a:lnTo>
                <a:close/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  <a:close/>
              </a:path>
            </a:pathLst>
          </a:custGeom>
          <a:solidFill>
            <a:srgbClr val="13498E">
              <a:alpha val="15000"/>
            </a:srgb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" name="Freeform 45">
            <a:extLst>
              <a:ext uri="{FF2B5EF4-FFF2-40B4-BE49-F238E27FC236}">
                <a16:creationId xmlns:a16="http://schemas.microsoft.com/office/drawing/2014/main" id="{FA26C795-A228-45BC-9FD6-9F4B38F5758E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reeform 45">
            <a:extLst>
              <a:ext uri="{FF2B5EF4-FFF2-40B4-BE49-F238E27FC236}">
                <a16:creationId xmlns:a16="http://schemas.microsoft.com/office/drawing/2014/main" id="{D9C09283-4AC1-4799-B6D5-659D854FFBA7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45">
            <a:extLst>
              <a:ext uri="{FF2B5EF4-FFF2-40B4-BE49-F238E27FC236}">
                <a16:creationId xmlns:a16="http://schemas.microsoft.com/office/drawing/2014/main" id="{B8E733FD-A66F-4B7C-9C65-2B4A613C6EE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57514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Slide 5">
    <p:bg>
      <p:bgPr>
        <a:gradFill>
          <a:gsLst>
            <a:gs pos="5000">
              <a:srgbClr val="002BC4"/>
            </a:gs>
            <a:gs pos="100000">
              <a:srgbClr val="4B72FF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4559300"/>
            <a:ext cx="4814887" cy="481467"/>
          </a:xfrm>
        </p:spPr>
        <p:txBody>
          <a:bodyPr anchor="b">
            <a:no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442913" y="5063331"/>
            <a:ext cx="4814887" cy="998538"/>
          </a:xfrm>
        </p:spPr>
        <p:txBody>
          <a:bodyPr>
            <a:no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Freeform 44">
            <a:extLst>
              <a:ext uri="{FF2B5EF4-FFF2-40B4-BE49-F238E27FC236}">
                <a16:creationId xmlns:a16="http://schemas.microsoft.com/office/drawing/2014/main" id="{69196B9C-0D13-41C0-B8B0-CDC040CD2C61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256 w 290"/>
              <a:gd name="T11" fmla="*/ 323 h 375"/>
              <a:gd name="T12" fmla="*/ 143 w 290"/>
              <a:gd name="T13" fmla="*/ 313 h 375"/>
              <a:gd name="T14" fmla="*/ 222 w 290"/>
              <a:gd name="T15" fmla="*/ 273 h 375"/>
              <a:gd name="T16" fmla="*/ 18 w 290"/>
              <a:gd name="T17" fmla="*/ 95 h 375"/>
              <a:gd name="T18" fmla="*/ 3 w 290"/>
              <a:gd name="T19" fmla="*/ 83 h 375"/>
              <a:gd name="T20" fmla="*/ 3 w 290"/>
              <a:gd name="T21" fmla="*/ 83 h 375"/>
              <a:gd name="T22" fmla="*/ 0 w 290"/>
              <a:gd name="T23" fmla="*/ 80 h 375"/>
              <a:gd name="T24" fmla="*/ 4 w 290"/>
              <a:gd name="T25" fmla="*/ 21 h 375"/>
              <a:gd name="T26" fmla="*/ 139 w 290"/>
              <a:gd name="T27" fmla="*/ 0 h 375"/>
              <a:gd name="T28" fmla="*/ 147 w 290"/>
              <a:gd name="T29" fmla="*/ 0 h 375"/>
              <a:gd name="T30" fmla="*/ 215 w 290"/>
              <a:gd name="T31" fmla="*/ 11 h 375"/>
              <a:gd name="T32" fmla="*/ 230 w 290"/>
              <a:gd name="T33" fmla="*/ 13 h 375"/>
              <a:gd name="T34" fmla="*/ 267 w 290"/>
              <a:gd name="T35" fmla="*/ 19 h 375"/>
              <a:gd name="T36" fmla="*/ 290 w 290"/>
              <a:gd name="T37" fmla="*/ 46 h 375"/>
              <a:gd name="T38" fmla="*/ 290 w 290"/>
              <a:gd name="T39" fmla="*/ 118 h 375"/>
              <a:gd name="T40" fmla="*/ 230 w 290"/>
              <a:gd name="T41" fmla="*/ 144 h 375"/>
              <a:gd name="T42" fmla="*/ 230 w 290"/>
              <a:gd name="T43" fmla="*/ 74 h 375"/>
              <a:gd name="T44" fmla="*/ 143 w 290"/>
              <a:gd name="T45" fmla="*/ 61 h 375"/>
              <a:gd name="T46" fmla="*/ 81 w 290"/>
              <a:gd name="T47" fmla="*/ 71 h 375"/>
              <a:gd name="T48" fmla="*/ 96 w 290"/>
              <a:gd name="T49" fmla="*/ 83 h 375"/>
              <a:gd name="T50" fmla="*/ 96 w 290"/>
              <a:gd name="T51" fmla="*/ 83 h 375"/>
              <a:gd name="T52" fmla="*/ 283 w 290"/>
              <a:gd name="T53" fmla="*/ 247 h 375"/>
              <a:gd name="T54" fmla="*/ 283 w 290"/>
              <a:gd name="T55" fmla="*/ 247 h 375"/>
              <a:gd name="T56" fmla="*/ 288 w 290"/>
              <a:gd name="T57" fmla="*/ 250 h 375"/>
              <a:gd name="T58" fmla="*/ 283 w 290"/>
              <a:gd name="T59" fmla="*/ 309 h 375"/>
              <a:gd name="T60" fmla="*/ 270 w 290"/>
              <a:gd name="T61" fmla="*/ 316 h 375"/>
              <a:gd name="T62" fmla="*/ 258 w 290"/>
              <a:gd name="T63" fmla="*/ 322 h 375"/>
              <a:gd name="T64" fmla="*/ 156 w 290"/>
              <a:gd name="T65" fmla="*/ 375 h 375"/>
              <a:gd name="T66" fmla="*/ 131 w 290"/>
              <a:gd name="T67" fmla="*/ 375 h 375"/>
              <a:gd name="T68" fmla="*/ 31 w 290"/>
              <a:gd name="T69" fmla="*/ 323 h 375"/>
              <a:gd name="T70" fmla="*/ 31 w 290"/>
              <a:gd name="T71" fmla="*/ 323 h 375"/>
              <a:gd name="T72" fmla="*/ 18 w 290"/>
              <a:gd name="T73" fmla="*/ 316 h 375"/>
              <a:gd name="T74" fmla="*/ 16 w 290"/>
              <a:gd name="T75" fmla="*/ 316 h 375"/>
              <a:gd name="T76" fmla="*/ 4 w 290"/>
              <a:gd name="T77" fmla="*/ 309 h 375"/>
              <a:gd name="T78" fmla="*/ 0 w 290"/>
              <a:gd name="T79" fmla="*/ 250 h 375"/>
              <a:gd name="T80" fmla="*/ 86 w 290"/>
              <a:gd name="T81" fmla="*/ 175 h 375"/>
              <a:gd name="T82" fmla="*/ 132 w 290"/>
              <a:gd name="T83" fmla="*/ 215 h 375"/>
              <a:gd name="T84" fmla="*/ 65 w 290"/>
              <a:gd name="T85" fmla="*/ 273 h 375"/>
              <a:gd name="T86" fmla="*/ 143 w 290"/>
              <a:gd name="T87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close/>
                <a:moveTo>
                  <a:pt x="256" y="323"/>
                </a:moveTo>
                <a:lnTo>
                  <a:pt x="258" y="322"/>
                </a:lnTo>
                <a:lnTo>
                  <a:pt x="256" y="323"/>
                </a:lnTo>
                <a:close/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  <a:close/>
              </a:path>
            </a:pathLst>
          </a:custGeom>
          <a:solidFill>
            <a:srgbClr val="001F87">
              <a:alpha val="13000"/>
            </a:srgb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" name="Freeform 45">
            <a:extLst>
              <a:ext uri="{FF2B5EF4-FFF2-40B4-BE49-F238E27FC236}">
                <a16:creationId xmlns:a16="http://schemas.microsoft.com/office/drawing/2014/main" id="{FA26C795-A228-45BC-9FD6-9F4B38F5758E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reeform 45">
            <a:extLst>
              <a:ext uri="{FF2B5EF4-FFF2-40B4-BE49-F238E27FC236}">
                <a16:creationId xmlns:a16="http://schemas.microsoft.com/office/drawing/2014/main" id="{79325E2E-D578-4FA9-9710-062D2477457D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45">
            <a:extLst>
              <a:ext uri="{FF2B5EF4-FFF2-40B4-BE49-F238E27FC236}">
                <a16:creationId xmlns:a16="http://schemas.microsoft.com/office/drawing/2014/main" id="{16B69240-4263-4F33-A32B-4208362FC4B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28978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Slide 6">
    <p:bg>
      <p:bgPr>
        <a:gradFill>
          <a:gsLst>
            <a:gs pos="5000">
              <a:srgbClr val="5A61A0"/>
            </a:gs>
            <a:gs pos="100000">
              <a:srgbClr val="9FA6CF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4559300"/>
            <a:ext cx="4814887" cy="481467"/>
          </a:xfrm>
        </p:spPr>
        <p:txBody>
          <a:bodyPr anchor="b">
            <a:no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442913" y="5063331"/>
            <a:ext cx="4814887" cy="998538"/>
          </a:xfrm>
        </p:spPr>
        <p:txBody>
          <a:bodyPr>
            <a:no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Freeform 44">
            <a:extLst>
              <a:ext uri="{FF2B5EF4-FFF2-40B4-BE49-F238E27FC236}">
                <a16:creationId xmlns:a16="http://schemas.microsoft.com/office/drawing/2014/main" id="{69196B9C-0D13-41C0-B8B0-CDC040CD2C61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256 w 290"/>
              <a:gd name="T11" fmla="*/ 323 h 375"/>
              <a:gd name="T12" fmla="*/ 143 w 290"/>
              <a:gd name="T13" fmla="*/ 313 h 375"/>
              <a:gd name="T14" fmla="*/ 222 w 290"/>
              <a:gd name="T15" fmla="*/ 273 h 375"/>
              <a:gd name="T16" fmla="*/ 18 w 290"/>
              <a:gd name="T17" fmla="*/ 95 h 375"/>
              <a:gd name="T18" fmla="*/ 3 w 290"/>
              <a:gd name="T19" fmla="*/ 83 h 375"/>
              <a:gd name="T20" fmla="*/ 3 w 290"/>
              <a:gd name="T21" fmla="*/ 83 h 375"/>
              <a:gd name="T22" fmla="*/ 0 w 290"/>
              <a:gd name="T23" fmla="*/ 80 h 375"/>
              <a:gd name="T24" fmla="*/ 4 w 290"/>
              <a:gd name="T25" fmla="*/ 21 h 375"/>
              <a:gd name="T26" fmla="*/ 139 w 290"/>
              <a:gd name="T27" fmla="*/ 0 h 375"/>
              <a:gd name="T28" fmla="*/ 147 w 290"/>
              <a:gd name="T29" fmla="*/ 0 h 375"/>
              <a:gd name="T30" fmla="*/ 215 w 290"/>
              <a:gd name="T31" fmla="*/ 11 h 375"/>
              <a:gd name="T32" fmla="*/ 230 w 290"/>
              <a:gd name="T33" fmla="*/ 13 h 375"/>
              <a:gd name="T34" fmla="*/ 267 w 290"/>
              <a:gd name="T35" fmla="*/ 19 h 375"/>
              <a:gd name="T36" fmla="*/ 290 w 290"/>
              <a:gd name="T37" fmla="*/ 46 h 375"/>
              <a:gd name="T38" fmla="*/ 290 w 290"/>
              <a:gd name="T39" fmla="*/ 118 h 375"/>
              <a:gd name="T40" fmla="*/ 230 w 290"/>
              <a:gd name="T41" fmla="*/ 144 h 375"/>
              <a:gd name="T42" fmla="*/ 230 w 290"/>
              <a:gd name="T43" fmla="*/ 74 h 375"/>
              <a:gd name="T44" fmla="*/ 143 w 290"/>
              <a:gd name="T45" fmla="*/ 61 h 375"/>
              <a:gd name="T46" fmla="*/ 81 w 290"/>
              <a:gd name="T47" fmla="*/ 71 h 375"/>
              <a:gd name="T48" fmla="*/ 96 w 290"/>
              <a:gd name="T49" fmla="*/ 83 h 375"/>
              <a:gd name="T50" fmla="*/ 96 w 290"/>
              <a:gd name="T51" fmla="*/ 83 h 375"/>
              <a:gd name="T52" fmla="*/ 283 w 290"/>
              <a:gd name="T53" fmla="*/ 247 h 375"/>
              <a:gd name="T54" fmla="*/ 283 w 290"/>
              <a:gd name="T55" fmla="*/ 247 h 375"/>
              <a:gd name="T56" fmla="*/ 288 w 290"/>
              <a:gd name="T57" fmla="*/ 250 h 375"/>
              <a:gd name="T58" fmla="*/ 283 w 290"/>
              <a:gd name="T59" fmla="*/ 309 h 375"/>
              <a:gd name="T60" fmla="*/ 270 w 290"/>
              <a:gd name="T61" fmla="*/ 316 h 375"/>
              <a:gd name="T62" fmla="*/ 258 w 290"/>
              <a:gd name="T63" fmla="*/ 322 h 375"/>
              <a:gd name="T64" fmla="*/ 156 w 290"/>
              <a:gd name="T65" fmla="*/ 375 h 375"/>
              <a:gd name="T66" fmla="*/ 131 w 290"/>
              <a:gd name="T67" fmla="*/ 375 h 375"/>
              <a:gd name="T68" fmla="*/ 31 w 290"/>
              <a:gd name="T69" fmla="*/ 323 h 375"/>
              <a:gd name="T70" fmla="*/ 31 w 290"/>
              <a:gd name="T71" fmla="*/ 323 h 375"/>
              <a:gd name="T72" fmla="*/ 18 w 290"/>
              <a:gd name="T73" fmla="*/ 316 h 375"/>
              <a:gd name="T74" fmla="*/ 16 w 290"/>
              <a:gd name="T75" fmla="*/ 316 h 375"/>
              <a:gd name="T76" fmla="*/ 4 w 290"/>
              <a:gd name="T77" fmla="*/ 309 h 375"/>
              <a:gd name="T78" fmla="*/ 0 w 290"/>
              <a:gd name="T79" fmla="*/ 250 h 375"/>
              <a:gd name="T80" fmla="*/ 86 w 290"/>
              <a:gd name="T81" fmla="*/ 175 h 375"/>
              <a:gd name="T82" fmla="*/ 132 w 290"/>
              <a:gd name="T83" fmla="*/ 215 h 375"/>
              <a:gd name="T84" fmla="*/ 65 w 290"/>
              <a:gd name="T85" fmla="*/ 273 h 375"/>
              <a:gd name="T86" fmla="*/ 143 w 290"/>
              <a:gd name="T87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close/>
                <a:moveTo>
                  <a:pt x="256" y="323"/>
                </a:moveTo>
                <a:lnTo>
                  <a:pt x="258" y="322"/>
                </a:lnTo>
                <a:lnTo>
                  <a:pt x="256" y="323"/>
                </a:lnTo>
                <a:close/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  <a:close/>
              </a:path>
            </a:pathLst>
          </a:custGeom>
          <a:solidFill>
            <a:srgbClr val="353A64">
              <a:alpha val="14000"/>
            </a:srgb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" name="Freeform 45">
            <a:extLst>
              <a:ext uri="{FF2B5EF4-FFF2-40B4-BE49-F238E27FC236}">
                <a16:creationId xmlns:a16="http://schemas.microsoft.com/office/drawing/2014/main" id="{FA26C795-A228-45BC-9FD6-9F4B38F5758E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reeform 45">
            <a:extLst>
              <a:ext uri="{FF2B5EF4-FFF2-40B4-BE49-F238E27FC236}">
                <a16:creationId xmlns:a16="http://schemas.microsoft.com/office/drawing/2014/main" id="{79325E2E-D578-4FA9-9710-062D2477457D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45">
            <a:extLst>
              <a:ext uri="{FF2B5EF4-FFF2-40B4-BE49-F238E27FC236}">
                <a16:creationId xmlns:a16="http://schemas.microsoft.com/office/drawing/2014/main" id="{07B46B3D-3EFC-48A1-93E2-C96F6D881EF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21323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442912" y="1342800"/>
            <a:ext cx="10368000" cy="4968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48104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3999117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53824803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ducing_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675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4173967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2913967" y="2169000"/>
            <a:ext cx="2520000" cy="2520000"/>
          </a:xfrm>
          <a:prstGeom prst="ellipse">
            <a:avLst/>
          </a:prstGeom>
          <a:solidFill>
            <a:schemeClr val="bg1">
              <a:lumMod val="100000"/>
            </a:schemeClr>
          </a:solidFill>
          <a:ln w="254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sr-Latn-RS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757934" y="2385597"/>
            <a:ext cx="4520201" cy="432000"/>
          </a:xfrm>
        </p:spPr>
        <p:txBody>
          <a:bodyPr anchor="t">
            <a:noAutofit/>
          </a:bodyPr>
          <a:lstStyle>
            <a:lvl1pPr marL="0" indent="0" algn="l">
              <a:spcBef>
                <a:spcPts val="300"/>
              </a:spcBef>
              <a:buNone/>
              <a:defRPr sz="28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5757934" y="2846547"/>
            <a:ext cx="4520201" cy="288000"/>
          </a:xfrm>
        </p:spPr>
        <p:txBody>
          <a:bodyPr anchor="t">
            <a:noAutofit/>
          </a:bodyPr>
          <a:lstStyle>
            <a:lvl1pPr marL="0" indent="0" algn="l">
              <a:spcBef>
                <a:spcPts val="300"/>
              </a:spcBef>
              <a:buNone/>
              <a:defRPr sz="1800" b="0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5757934" y="3190133"/>
            <a:ext cx="4520201" cy="1376754"/>
          </a:xfrm>
        </p:spPr>
        <p:txBody>
          <a:bodyPr anchor="t">
            <a:noAutofit/>
          </a:bodyPr>
          <a:lstStyle>
            <a:lvl1pPr marL="0" indent="0" algn="l">
              <a:spcBef>
                <a:spcPts val="300"/>
              </a:spcBef>
              <a:buNone/>
              <a:defRPr sz="1800" b="0" i="0" u="none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110513B-FB06-4F25-A0C3-6C3CD462F870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676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110513B-FB06-4F25-A0C3-6C3CD462F8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E033B574-531E-4D27-BBE9-BD1327EA553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D22E462-55A6-429E-8BE9-A45F747E9D7B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677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D22E462-55A6-429E-8BE9-A45F747E9D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2449987F-5EFF-43A4-A612-55F8334D88B5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586C393D-8CF9-4854-90E6-67DAB62D7CE7}"/>
              </a:ext>
            </a:extLst>
          </p:cNvPr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678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586C393D-8CF9-4854-90E6-67DAB62D7C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F1E38463-3513-4AF0-A6D2-B2176D9EC345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31089EFB-747E-4AE1-A818-EF658C15C7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679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586C393D-8CF9-4854-90E6-67DAB62D7C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EA5A013E-D170-49D7-A8CD-10BC71145E94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144485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pictur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42911" y="4505325"/>
            <a:ext cx="10368001" cy="18034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just">
              <a:buNone/>
              <a:defRPr sz="1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F591CB7-A523-441B-8478-657A83BAA2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1341438"/>
            <a:ext cx="11453586" cy="2887662"/>
          </a:xfrm>
          <a:custGeom>
            <a:avLst/>
            <a:gdLst>
              <a:gd name="connsiteX0" fmla="*/ 0 w 11453586"/>
              <a:gd name="connsiteY0" fmla="*/ 0 h 2887662"/>
              <a:gd name="connsiteX1" fmla="*/ 11453586 w 11453586"/>
              <a:gd name="connsiteY1" fmla="*/ 0 h 2887662"/>
              <a:gd name="connsiteX2" fmla="*/ 11265494 w 11453586"/>
              <a:gd name="connsiteY2" fmla="*/ 1567043 h 2887662"/>
              <a:gd name="connsiteX3" fmla="*/ 11010900 w 11453586"/>
              <a:gd name="connsiteY3" fmla="*/ 1999148 h 2887662"/>
              <a:gd name="connsiteX4" fmla="*/ 11207607 w 11453586"/>
              <a:gd name="connsiteY4" fmla="*/ 2887662 h 2887662"/>
              <a:gd name="connsiteX5" fmla="*/ 0 w 11453586"/>
              <a:gd name="connsiteY5" fmla="*/ 2887662 h 28876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53586" h="2887662">
                <a:moveTo>
                  <a:pt x="0" y="0"/>
                </a:moveTo>
                <a:lnTo>
                  <a:pt x="11453586" y="0"/>
                </a:lnTo>
                <a:lnTo>
                  <a:pt x="11265494" y="1567043"/>
                </a:lnTo>
                <a:lnTo>
                  <a:pt x="11010900" y="1999148"/>
                </a:lnTo>
                <a:lnTo>
                  <a:pt x="11207607" y="2887662"/>
                </a:lnTo>
                <a:lnTo>
                  <a:pt x="0" y="288766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96954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712494" y="1797051"/>
            <a:ext cx="3058080" cy="216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95560" y="4178300"/>
            <a:ext cx="3074957" cy="3831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95560" y="4623043"/>
            <a:ext cx="3058080" cy="12538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073043" y="4178300"/>
            <a:ext cx="3058024" cy="3831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056109" y="4623043"/>
            <a:ext cx="3058080" cy="12538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7416715" y="4178300"/>
            <a:ext cx="3074957" cy="3831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7416715" y="4623043"/>
            <a:ext cx="3058080" cy="12538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4073043" y="1797051"/>
            <a:ext cx="3058080" cy="216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23"/>
          </p:nvPr>
        </p:nvSpPr>
        <p:spPr>
          <a:xfrm>
            <a:off x="7433592" y="1797051"/>
            <a:ext cx="3058080" cy="216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7161974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ircula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210043" y="1572462"/>
            <a:ext cx="2206800" cy="2207683"/>
          </a:xfrm>
          <a:prstGeom prst="ellipse">
            <a:avLst/>
          </a:prstGeom>
          <a:ln w="381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570649" y="1572462"/>
            <a:ext cx="2206800" cy="2207683"/>
          </a:xfrm>
          <a:prstGeom prst="ellipse">
            <a:avLst/>
          </a:prstGeom>
          <a:ln w="381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7931255" y="1572462"/>
            <a:ext cx="2206800" cy="2207683"/>
          </a:xfrm>
          <a:prstGeom prst="ellipse">
            <a:avLst/>
          </a:prstGeom>
          <a:ln w="381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4262" y="4023562"/>
            <a:ext cx="2898478" cy="360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2000" b="1">
                <a:solidFill>
                  <a:schemeClr val="accent1">
                    <a:lumMod val="10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864260" y="4383562"/>
            <a:ext cx="2898480" cy="17473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224812" y="4023562"/>
            <a:ext cx="2898478" cy="360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2000" b="1">
                <a:solidFill>
                  <a:schemeClr val="accent1">
                    <a:lumMod val="10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224809" y="4383562"/>
            <a:ext cx="2898480" cy="17473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7585417" y="4023562"/>
            <a:ext cx="2898478" cy="360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2000" b="1">
                <a:solidFill>
                  <a:schemeClr val="accent1">
                    <a:lumMod val="10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7585415" y="4383562"/>
            <a:ext cx="2898480" cy="17473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7213906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" y="2009440"/>
            <a:ext cx="6143625" cy="363573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1A47580F-5D75-4F5B-8AEF-502D2A0C3317}"/>
              </a:ext>
            </a:extLst>
          </p:cNvPr>
          <p:cNvSpPr>
            <a:spLocks/>
          </p:cNvSpPr>
          <p:nvPr/>
        </p:nvSpPr>
        <p:spPr bwMode="auto">
          <a:xfrm>
            <a:off x="6143624" y="2009441"/>
            <a:ext cx="5377486" cy="3635739"/>
          </a:xfrm>
          <a:custGeom>
            <a:avLst/>
            <a:gdLst>
              <a:gd name="connsiteX0" fmla="*/ 0 w 5377486"/>
              <a:gd name="connsiteY0" fmla="*/ 0 h 3635739"/>
              <a:gd name="connsiteX1" fmla="*/ 5229782 w 5377486"/>
              <a:gd name="connsiteY1" fmla="*/ 0 h 3635739"/>
              <a:gd name="connsiteX2" fmla="*/ 5121870 w 5377486"/>
              <a:gd name="connsiteY2" fmla="*/ 899041 h 3635739"/>
              <a:gd name="connsiteX3" fmla="*/ 4867276 w 5377486"/>
              <a:gd name="connsiteY3" fmla="*/ 1331146 h 3635739"/>
              <a:gd name="connsiteX4" fmla="*/ 5377486 w 5377486"/>
              <a:gd name="connsiteY4" fmla="*/ 3635739 h 3635739"/>
              <a:gd name="connsiteX5" fmla="*/ 0 w 5377486"/>
              <a:gd name="connsiteY5" fmla="*/ 3635739 h 3635739"/>
              <a:gd name="connsiteX6" fmla="*/ 0 w 5377486"/>
              <a:gd name="connsiteY6" fmla="*/ 0 h 3635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77486" h="3635739">
                <a:moveTo>
                  <a:pt x="0" y="0"/>
                </a:moveTo>
                <a:lnTo>
                  <a:pt x="5229782" y="0"/>
                </a:lnTo>
                <a:lnTo>
                  <a:pt x="5121870" y="899041"/>
                </a:lnTo>
                <a:lnTo>
                  <a:pt x="4867276" y="1331146"/>
                </a:lnTo>
                <a:lnTo>
                  <a:pt x="5377486" y="3635739"/>
                </a:lnTo>
                <a:lnTo>
                  <a:pt x="0" y="3635739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5000">
                <a:schemeClr val="accent1"/>
              </a:gs>
              <a:gs pos="100000">
                <a:schemeClr val="accent2"/>
              </a:gs>
            </a:gsLst>
            <a:lin ang="18900000" scaled="1"/>
          </a:gra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6657D8-299A-4EC6-A6D2-8FD9B92F86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8099" y="2133600"/>
            <a:ext cx="4422813" cy="33782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6ECB4BF9-24E4-4D5F-9425-BA9DAD3A2D6A}"/>
              </a:ext>
            </a:extLst>
          </p:cNvPr>
          <p:cNvSpPr>
            <a:spLocks/>
          </p:cNvSpPr>
          <p:nvPr/>
        </p:nvSpPr>
        <p:spPr bwMode="auto">
          <a:xfrm>
            <a:off x="6143624" y="2009441"/>
            <a:ext cx="5377486" cy="3635739"/>
          </a:xfrm>
          <a:custGeom>
            <a:avLst/>
            <a:gdLst>
              <a:gd name="connsiteX0" fmla="*/ 0 w 5377486"/>
              <a:gd name="connsiteY0" fmla="*/ 0 h 3635739"/>
              <a:gd name="connsiteX1" fmla="*/ 5229782 w 5377486"/>
              <a:gd name="connsiteY1" fmla="*/ 0 h 3635739"/>
              <a:gd name="connsiteX2" fmla="*/ 5121870 w 5377486"/>
              <a:gd name="connsiteY2" fmla="*/ 899041 h 3635739"/>
              <a:gd name="connsiteX3" fmla="*/ 4867276 w 5377486"/>
              <a:gd name="connsiteY3" fmla="*/ 1331146 h 3635739"/>
              <a:gd name="connsiteX4" fmla="*/ 5377486 w 5377486"/>
              <a:gd name="connsiteY4" fmla="*/ 3635739 h 3635739"/>
              <a:gd name="connsiteX5" fmla="*/ 0 w 5377486"/>
              <a:gd name="connsiteY5" fmla="*/ 3635739 h 3635739"/>
              <a:gd name="connsiteX6" fmla="*/ 0 w 5377486"/>
              <a:gd name="connsiteY6" fmla="*/ 0 h 3635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77486" h="3635739">
                <a:moveTo>
                  <a:pt x="0" y="0"/>
                </a:moveTo>
                <a:lnTo>
                  <a:pt x="5229782" y="0"/>
                </a:lnTo>
                <a:lnTo>
                  <a:pt x="5121870" y="899041"/>
                </a:lnTo>
                <a:lnTo>
                  <a:pt x="4867276" y="1331146"/>
                </a:lnTo>
                <a:lnTo>
                  <a:pt x="5377486" y="3635739"/>
                </a:lnTo>
                <a:lnTo>
                  <a:pt x="0" y="3635739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5000">
                <a:schemeClr val="accent1"/>
              </a:gs>
              <a:gs pos="100000">
                <a:schemeClr val="accent2"/>
              </a:gs>
            </a:gsLst>
            <a:lin ang="18900000" scaled="1"/>
          </a:gra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D4A64007-82A0-4D38-A8A9-558B2D3F9798}"/>
              </a:ext>
            </a:extLst>
          </p:cNvPr>
          <p:cNvSpPr>
            <a:spLocks/>
          </p:cNvSpPr>
          <p:nvPr userDrawn="1"/>
        </p:nvSpPr>
        <p:spPr bwMode="auto">
          <a:xfrm>
            <a:off x="6143624" y="2009441"/>
            <a:ext cx="5377486" cy="3635739"/>
          </a:xfrm>
          <a:custGeom>
            <a:avLst/>
            <a:gdLst>
              <a:gd name="connsiteX0" fmla="*/ 0 w 5377486"/>
              <a:gd name="connsiteY0" fmla="*/ 0 h 3635739"/>
              <a:gd name="connsiteX1" fmla="*/ 5229782 w 5377486"/>
              <a:gd name="connsiteY1" fmla="*/ 0 h 3635739"/>
              <a:gd name="connsiteX2" fmla="*/ 5121870 w 5377486"/>
              <a:gd name="connsiteY2" fmla="*/ 899041 h 3635739"/>
              <a:gd name="connsiteX3" fmla="*/ 4867276 w 5377486"/>
              <a:gd name="connsiteY3" fmla="*/ 1331146 h 3635739"/>
              <a:gd name="connsiteX4" fmla="*/ 5377486 w 5377486"/>
              <a:gd name="connsiteY4" fmla="*/ 3635739 h 3635739"/>
              <a:gd name="connsiteX5" fmla="*/ 0 w 5377486"/>
              <a:gd name="connsiteY5" fmla="*/ 3635739 h 3635739"/>
              <a:gd name="connsiteX6" fmla="*/ 0 w 5377486"/>
              <a:gd name="connsiteY6" fmla="*/ 0 h 3635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77486" h="3635739">
                <a:moveTo>
                  <a:pt x="0" y="0"/>
                </a:moveTo>
                <a:lnTo>
                  <a:pt x="5229782" y="0"/>
                </a:lnTo>
                <a:lnTo>
                  <a:pt x="5121870" y="899041"/>
                </a:lnTo>
                <a:lnTo>
                  <a:pt x="4867276" y="1331146"/>
                </a:lnTo>
                <a:lnTo>
                  <a:pt x="5377486" y="3635739"/>
                </a:lnTo>
                <a:lnTo>
                  <a:pt x="0" y="3635739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5000">
                <a:schemeClr val="accent1"/>
              </a:gs>
              <a:gs pos="100000">
                <a:schemeClr val="accent2"/>
              </a:gs>
            </a:gsLst>
            <a:lin ang="18900000" scaled="1"/>
          </a:gra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383804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5903578" y="1976470"/>
            <a:ext cx="4907335" cy="1264236"/>
          </a:xfrm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5903578" y="4153611"/>
            <a:ext cx="4907335" cy="1264236"/>
          </a:xfrm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70D85D52-66CB-4B04-9B6B-C9ABBA529057}"/>
              </a:ext>
            </a:extLst>
          </p:cNvPr>
          <p:cNvSpPr/>
          <p:nvPr userDrawn="1"/>
        </p:nvSpPr>
        <p:spPr>
          <a:xfrm>
            <a:off x="4990245" y="2237830"/>
            <a:ext cx="720000" cy="720000"/>
          </a:xfrm>
          <a:prstGeom prst="ellipse">
            <a:avLst/>
          </a:prstGeom>
          <a:solidFill>
            <a:schemeClr val="accent1"/>
          </a:solidFill>
          <a:ln>
            <a:solidFill>
              <a:schemeClr val="bg1">
                <a:lumMod val="10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ABB6BFB3-C51E-409F-86CF-373C364C9A5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42912" y="1654178"/>
            <a:ext cx="4907335" cy="1887311"/>
          </a:xfrm>
          <a:custGeom>
            <a:avLst/>
            <a:gdLst>
              <a:gd name="connsiteX0" fmla="*/ 0 w 4907335"/>
              <a:gd name="connsiteY0" fmla="*/ 0 h 1887311"/>
              <a:gd name="connsiteX1" fmla="*/ 4907335 w 4907335"/>
              <a:gd name="connsiteY1" fmla="*/ 0 h 1887311"/>
              <a:gd name="connsiteX2" fmla="*/ 4907335 w 4907335"/>
              <a:gd name="connsiteY2" fmla="*/ 583653 h 1887311"/>
              <a:gd name="connsiteX3" fmla="*/ 4907333 w 4907335"/>
              <a:gd name="connsiteY3" fmla="*/ 583653 h 1887311"/>
              <a:gd name="connsiteX4" fmla="*/ 4547333 w 4907335"/>
              <a:gd name="connsiteY4" fmla="*/ 943653 h 1887311"/>
              <a:gd name="connsiteX5" fmla="*/ 4907333 w 4907335"/>
              <a:gd name="connsiteY5" fmla="*/ 1303653 h 1887311"/>
              <a:gd name="connsiteX6" fmla="*/ 4907335 w 4907335"/>
              <a:gd name="connsiteY6" fmla="*/ 1303653 h 1887311"/>
              <a:gd name="connsiteX7" fmla="*/ 4907335 w 4907335"/>
              <a:gd name="connsiteY7" fmla="*/ 1887311 h 1887311"/>
              <a:gd name="connsiteX8" fmla="*/ 0 w 4907335"/>
              <a:gd name="connsiteY8" fmla="*/ 1887311 h 1887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907335" h="1887311">
                <a:moveTo>
                  <a:pt x="0" y="0"/>
                </a:moveTo>
                <a:lnTo>
                  <a:pt x="4907335" y="0"/>
                </a:lnTo>
                <a:lnTo>
                  <a:pt x="4907335" y="583653"/>
                </a:lnTo>
                <a:lnTo>
                  <a:pt x="4907333" y="583653"/>
                </a:lnTo>
                <a:cubicBezTo>
                  <a:pt x="4708510" y="583653"/>
                  <a:pt x="4547333" y="744830"/>
                  <a:pt x="4547333" y="943653"/>
                </a:cubicBezTo>
                <a:cubicBezTo>
                  <a:pt x="4547333" y="1142476"/>
                  <a:pt x="4708510" y="1303653"/>
                  <a:pt x="4907333" y="1303653"/>
                </a:cubicBezTo>
                <a:lnTo>
                  <a:pt x="4907335" y="1303653"/>
                </a:lnTo>
                <a:lnTo>
                  <a:pt x="4907335" y="1887311"/>
                </a:lnTo>
                <a:lnTo>
                  <a:pt x="0" y="188731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08CEDD78-0C23-44FA-8379-8281A4C97D4D}"/>
              </a:ext>
            </a:extLst>
          </p:cNvPr>
          <p:cNvSpPr>
            <a:spLocks/>
          </p:cNvSpPr>
          <p:nvPr userDrawn="1"/>
        </p:nvSpPr>
        <p:spPr>
          <a:xfrm>
            <a:off x="4990245" y="4414974"/>
            <a:ext cx="720000" cy="720000"/>
          </a:xfrm>
          <a:prstGeom prst="ellipse">
            <a:avLst/>
          </a:prstGeom>
          <a:solidFill>
            <a:schemeClr val="accent2"/>
          </a:solidFill>
          <a:ln>
            <a:solidFill>
              <a:schemeClr val="bg1">
                <a:lumMod val="10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0C6C8902-A526-4F76-AC51-FFE235407114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42912" y="3831318"/>
            <a:ext cx="4907335" cy="1887311"/>
          </a:xfrm>
          <a:custGeom>
            <a:avLst/>
            <a:gdLst>
              <a:gd name="connsiteX0" fmla="*/ 0 w 4907335"/>
              <a:gd name="connsiteY0" fmla="*/ 0 h 1887311"/>
              <a:gd name="connsiteX1" fmla="*/ 4907335 w 4907335"/>
              <a:gd name="connsiteY1" fmla="*/ 0 h 1887311"/>
              <a:gd name="connsiteX2" fmla="*/ 4907335 w 4907335"/>
              <a:gd name="connsiteY2" fmla="*/ 583653 h 1887311"/>
              <a:gd name="connsiteX3" fmla="*/ 4907333 w 4907335"/>
              <a:gd name="connsiteY3" fmla="*/ 583653 h 1887311"/>
              <a:gd name="connsiteX4" fmla="*/ 4547333 w 4907335"/>
              <a:gd name="connsiteY4" fmla="*/ 943653 h 1887311"/>
              <a:gd name="connsiteX5" fmla="*/ 4907333 w 4907335"/>
              <a:gd name="connsiteY5" fmla="*/ 1303653 h 1887311"/>
              <a:gd name="connsiteX6" fmla="*/ 4907335 w 4907335"/>
              <a:gd name="connsiteY6" fmla="*/ 1303653 h 1887311"/>
              <a:gd name="connsiteX7" fmla="*/ 4907335 w 4907335"/>
              <a:gd name="connsiteY7" fmla="*/ 1887311 h 1887311"/>
              <a:gd name="connsiteX8" fmla="*/ 0 w 4907335"/>
              <a:gd name="connsiteY8" fmla="*/ 1887311 h 1887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907335" h="1887311">
                <a:moveTo>
                  <a:pt x="0" y="0"/>
                </a:moveTo>
                <a:lnTo>
                  <a:pt x="4907335" y="0"/>
                </a:lnTo>
                <a:lnTo>
                  <a:pt x="4907335" y="583653"/>
                </a:lnTo>
                <a:lnTo>
                  <a:pt x="4907333" y="583653"/>
                </a:lnTo>
                <a:cubicBezTo>
                  <a:pt x="4708510" y="583653"/>
                  <a:pt x="4547333" y="744830"/>
                  <a:pt x="4547333" y="943653"/>
                </a:cubicBezTo>
                <a:cubicBezTo>
                  <a:pt x="4547333" y="1142476"/>
                  <a:pt x="4708510" y="1303653"/>
                  <a:pt x="4907333" y="1303653"/>
                </a:cubicBezTo>
                <a:lnTo>
                  <a:pt x="4907335" y="1303653"/>
                </a:lnTo>
                <a:lnTo>
                  <a:pt x="4907335" y="1887311"/>
                </a:lnTo>
                <a:lnTo>
                  <a:pt x="0" y="188731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9574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42912" y="1342800"/>
            <a:ext cx="5040000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>
          <a:xfrm>
            <a:off x="5770913" y="1342800"/>
            <a:ext cx="5040000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816935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eaders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5"/>
          </p:nvPr>
        </p:nvSpPr>
        <p:spPr>
          <a:xfrm>
            <a:off x="431800" y="1342800"/>
            <a:ext cx="5040000" cy="432000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6"/>
          </p:nvPr>
        </p:nvSpPr>
        <p:spPr>
          <a:xfrm>
            <a:off x="5770914" y="1342800"/>
            <a:ext cx="5040000" cy="432000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None/>
              <a:defRPr sz="20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31799" y="1794142"/>
            <a:ext cx="5040000" cy="4527319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Inhaltsplatzhalter 8"/>
          <p:cNvSpPr>
            <a:spLocks noGrp="1"/>
          </p:cNvSpPr>
          <p:nvPr>
            <p:ph sz="quarter" idx="14" hasCustomPrompt="1"/>
          </p:nvPr>
        </p:nvSpPr>
        <p:spPr>
          <a:xfrm>
            <a:off x="5770913" y="1794142"/>
            <a:ext cx="5040000" cy="4514583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491253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42913" y="1341436"/>
            <a:ext cx="3261600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>
          <a:xfrm>
            <a:off x="7549313" y="1341436"/>
            <a:ext cx="3261600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Inhaltsplatzhalter 6"/>
          <p:cNvSpPr>
            <a:spLocks noGrp="1"/>
          </p:cNvSpPr>
          <p:nvPr>
            <p:ph sz="quarter" idx="16" hasCustomPrompt="1"/>
          </p:nvPr>
        </p:nvSpPr>
        <p:spPr>
          <a:xfrm>
            <a:off x="3996113" y="1341436"/>
            <a:ext cx="3261600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065833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eaders and 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42913" y="1794141"/>
            <a:ext cx="3261600" cy="4514583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>
          <a:xfrm>
            <a:off x="7549313" y="1794141"/>
            <a:ext cx="3261600" cy="4514583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Inhaltsplatzhalter 6"/>
          <p:cNvSpPr>
            <a:spLocks noGrp="1"/>
          </p:cNvSpPr>
          <p:nvPr>
            <p:ph sz="quarter" idx="16" hasCustomPrompt="1"/>
          </p:nvPr>
        </p:nvSpPr>
        <p:spPr>
          <a:xfrm>
            <a:off x="3996113" y="1794141"/>
            <a:ext cx="3261600" cy="4514583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7"/>
          </p:nvPr>
        </p:nvSpPr>
        <p:spPr>
          <a:xfrm>
            <a:off x="442914" y="1342800"/>
            <a:ext cx="3261600" cy="432000"/>
          </a:xfrm>
        </p:spPr>
        <p:txBody>
          <a:bodyPr anchor="t">
            <a:norm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20"/>
          </p:nvPr>
        </p:nvSpPr>
        <p:spPr>
          <a:xfrm>
            <a:off x="3996113" y="1342800"/>
            <a:ext cx="3261600" cy="432000"/>
          </a:xfrm>
        </p:spPr>
        <p:txBody>
          <a:bodyPr anchor="t">
            <a:normAutofit/>
          </a:bodyPr>
          <a:lstStyle>
            <a:lvl1pPr marL="0" indent="0">
              <a:buNone/>
              <a:defRPr sz="2000" b="1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21"/>
          </p:nvPr>
        </p:nvSpPr>
        <p:spPr>
          <a:xfrm>
            <a:off x="7549312" y="1342800"/>
            <a:ext cx="3261600" cy="432000"/>
          </a:xfrm>
        </p:spPr>
        <p:txBody>
          <a:bodyPr anchor="t">
            <a:normAutofit/>
          </a:bodyPr>
          <a:lstStyle>
            <a:lvl1pPr marL="0" indent="0">
              <a:buNone/>
              <a:defRPr sz="20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49553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-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42914" y="1342800"/>
            <a:ext cx="3261600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>
          <a:xfrm>
            <a:off x="3996113" y="1342800"/>
            <a:ext cx="6814800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735011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/3-1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7549313" y="1342800"/>
            <a:ext cx="3261600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>
          <a:xfrm>
            <a:off x="442911" y="1342800"/>
            <a:ext cx="6814801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956884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42913" y="1341437"/>
            <a:ext cx="7476886" cy="4967288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2" y="314313"/>
            <a:ext cx="7476887" cy="66674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Picture Placeholder 6">
            <a:extLst>
              <a:ext uri="{FF2B5EF4-FFF2-40B4-BE49-F238E27FC236}">
                <a16:creationId xmlns:a16="http://schemas.microsoft.com/office/drawing/2014/main" id="{1D79F134-8512-4E7E-B15A-4229C14EBCC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380802" y="0"/>
            <a:ext cx="3408815" cy="6858000"/>
          </a:xfrm>
          <a:custGeom>
            <a:avLst/>
            <a:gdLst>
              <a:gd name="connsiteX0" fmla="*/ 0 w 3408815"/>
              <a:gd name="connsiteY0" fmla="*/ 0 h 6858000"/>
              <a:gd name="connsiteX1" fmla="*/ 3159858 w 3408815"/>
              <a:gd name="connsiteY1" fmla="*/ 0 h 6858000"/>
              <a:gd name="connsiteX2" fmla="*/ 3023800 w 3408815"/>
              <a:gd name="connsiteY2" fmla="*/ 610131 h 6858000"/>
              <a:gd name="connsiteX3" fmla="*/ 3174853 w 3408815"/>
              <a:gd name="connsiteY3" fmla="*/ 493085 h 6858000"/>
              <a:gd name="connsiteX4" fmla="*/ 3174332 w 3408815"/>
              <a:gd name="connsiteY4" fmla="*/ 495433 h 6858000"/>
              <a:gd name="connsiteX5" fmla="*/ 2884694 w 3408815"/>
              <a:gd name="connsiteY5" fmla="*/ 2908481 h 6858000"/>
              <a:gd name="connsiteX6" fmla="*/ 2630100 w 3408815"/>
              <a:gd name="connsiteY6" fmla="*/ 3340586 h 6858000"/>
              <a:gd name="connsiteX7" fmla="*/ 3408815 w 3408815"/>
              <a:gd name="connsiteY7" fmla="*/ 6858000 h 6858000"/>
              <a:gd name="connsiteX8" fmla="*/ 0 w 3408815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08815" h="6858000">
                <a:moveTo>
                  <a:pt x="0" y="0"/>
                </a:moveTo>
                <a:lnTo>
                  <a:pt x="3159858" y="0"/>
                </a:lnTo>
                <a:lnTo>
                  <a:pt x="3023800" y="610131"/>
                </a:lnTo>
                <a:lnTo>
                  <a:pt x="3174853" y="493085"/>
                </a:lnTo>
                <a:lnTo>
                  <a:pt x="3174332" y="495433"/>
                </a:lnTo>
                <a:lnTo>
                  <a:pt x="2884694" y="2908481"/>
                </a:lnTo>
                <a:lnTo>
                  <a:pt x="2630100" y="3340586"/>
                </a:lnTo>
                <a:lnTo>
                  <a:pt x="340881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7032159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11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6.xml"/><Relationship Id="rId42" Type="http://schemas.openxmlformats.org/officeDocument/2006/relationships/oleObject" Target="../embeddings/oleObject2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4.xml"/><Relationship Id="rId37" Type="http://schemas.openxmlformats.org/officeDocument/2006/relationships/tags" Target="../tags/tag9.xml"/><Relationship Id="rId40" Type="http://schemas.openxmlformats.org/officeDocument/2006/relationships/oleObject" Target="../embeddings/oleObject1.bin"/><Relationship Id="rId45" Type="http://schemas.openxmlformats.org/officeDocument/2006/relationships/oleObject" Target="../embeddings/oleObject5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36" Type="http://schemas.openxmlformats.org/officeDocument/2006/relationships/tags" Target="../tags/tag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3.xml"/><Relationship Id="rId44" Type="http://schemas.openxmlformats.org/officeDocument/2006/relationships/oleObject" Target="../embeddings/oleObject4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Relationship Id="rId35" Type="http://schemas.openxmlformats.org/officeDocument/2006/relationships/tags" Target="../tags/tag7.xml"/><Relationship Id="rId43" Type="http://schemas.openxmlformats.org/officeDocument/2006/relationships/oleObject" Target="../embeddings/oleObject3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5.xml"/><Relationship Id="rId38" Type="http://schemas.openxmlformats.org/officeDocument/2006/relationships/tags" Target="../tags/tag10.xml"/><Relationship Id="rId20" Type="http://schemas.openxmlformats.org/officeDocument/2006/relationships/slideLayout" Target="../slideLayouts/slideLayout20.xml"/><Relationship Id="rId41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2913" y="1341438"/>
            <a:ext cx="10368000" cy="4968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428107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651"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/>
          <p:cNvSpPr/>
          <p:nvPr>
            <p:custDataLst>
              <p:tags r:id="rId3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4" y="317660"/>
            <a:ext cx="10367999" cy="7920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5759EC7-24B3-4C8A-BDAF-CA15F7A34D3E}"/>
              </a:ext>
            </a:extLst>
          </p:cNvPr>
          <p:cNvGraphicFramePr>
            <a:graphicFrameLocks noChangeAspect="1"/>
          </p:cNvGraphicFramePr>
          <p:nvPr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54699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652" name="think-cell Slide" r:id="rId42" imgW="270" imgH="270" progId="TCLayout.ActiveDocument.1">
                  <p:embed/>
                </p:oleObj>
              </mc:Choice>
              <mc:Fallback>
                <p:oleObj name="think-cell Slide" r:id="rId42" imgW="270" imgH="27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5759EC7-24B3-4C8A-BDAF-CA15F7A34D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30AF223-A835-41C0-8FF1-67DF95B18047}"/>
              </a:ext>
            </a:extLst>
          </p:cNvPr>
          <p:cNvSpPr/>
          <p:nvPr>
            <p:custDataLst>
              <p:tags r:id="rId3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81B75B4-AEA4-4FAB-B889-2CFCA25F6D7E}"/>
              </a:ext>
            </a:extLst>
          </p:cNvPr>
          <p:cNvGraphicFramePr>
            <a:graphicFrameLocks noChangeAspect="1"/>
          </p:cNvGraphicFramePr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1528427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653" name="think-cell Slide" r:id="rId43" imgW="270" imgH="270" progId="TCLayout.ActiveDocument.1">
                  <p:embed/>
                </p:oleObj>
              </mc:Choice>
              <mc:Fallback>
                <p:oleObj name="think-cell Slide" r:id="rId43" imgW="270" imgH="27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81B75B4-AEA4-4FAB-B889-2CFCA25F6D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9BCF3972-DE24-411F-B61E-BE6ABD1EF009}"/>
              </a:ext>
            </a:extLst>
          </p:cNvPr>
          <p:cNvSpPr/>
          <p:nvPr>
            <p:custDataLst>
              <p:tags r:id="rId3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2D24452-3069-43C9-BF60-6DC10CDA9482}"/>
              </a:ext>
            </a:extLst>
          </p:cNvPr>
          <p:cNvGrpSpPr/>
          <p:nvPr/>
        </p:nvGrpSpPr>
        <p:grpSpPr>
          <a:xfrm>
            <a:off x="167808" y="6353461"/>
            <a:ext cx="271462" cy="351028"/>
            <a:chOff x="4124325" y="4591050"/>
            <a:chExt cx="460375" cy="595313"/>
          </a:xfrm>
        </p:grpSpPr>
        <p:sp>
          <p:nvSpPr>
            <p:cNvPr id="12" name="Freeform 25">
              <a:extLst>
                <a:ext uri="{FF2B5EF4-FFF2-40B4-BE49-F238E27FC236}">
                  <a16:creationId xmlns:a16="http://schemas.microsoft.com/office/drawing/2014/main" id="{64F995BC-9AB3-4C1E-AF05-3AD41CE55BB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983163"/>
              <a:ext cx="457200" cy="203200"/>
            </a:xfrm>
            <a:custGeom>
              <a:avLst/>
              <a:gdLst>
                <a:gd name="T0" fmla="*/ 143 w 288"/>
                <a:gd name="T1" fmla="*/ 66 h 128"/>
                <a:gd name="T2" fmla="*/ 228 w 288"/>
                <a:gd name="T3" fmla="*/ 23 h 128"/>
                <a:gd name="T4" fmla="*/ 283 w 288"/>
                <a:gd name="T5" fmla="*/ 0 h 128"/>
                <a:gd name="T6" fmla="*/ 288 w 288"/>
                <a:gd name="T7" fmla="*/ 3 h 128"/>
                <a:gd name="T8" fmla="*/ 283 w 288"/>
                <a:gd name="T9" fmla="*/ 62 h 128"/>
                <a:gd name="T10" fmla="*/ 156 w 288"/>
                <a:gd name="T11" fmla="*/ 128 h 128"/>
                <a:gd name="T12" fmla="*/ 131 w 288"/>
                <a:gd name="T13" fmla="*/ 128 h 128"/>
                <a:gd name="T14" fmla="*/ 4 w 288"/>
                <a:gd name="T15" fmla="*/ 62 h 128"/>
                <a:gd name="T16" fmla="*/ 0 w 288"/>
                <a:gd name="T17" fmla="*/ 3 h 128"/>
                <a:gd name="T18" fmla="*/ 4 w 288"/>
                <a:gd name="T19" fmla="*/ 0 h 128"/>
                <a:gd name="T20" fmla="*/ 59 w 288"/>
                <a:gd name="T21" fmla="*/ 23 h 128"/>
                <a:gd name="T22" fmla="*/ 143 w 288"/>
                <a:gd name="T23" fmla="*/ 6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8" h="128">
                  <a:moveTo>
                    <a:pt x="143" y="66"/>
                  </a:moveTo>
                  <a:lnTo>
                    <a:pt x="228" y="23"/>
                  </a:lnTo>
                  <a:lnTo>
                    <a:pt x="283" y="0"/>
                  </a:lnTo>
                  <a:lnTo>
                    <a:pt x="288" y="3"/>
                  </a:lnTo>
                  <a:lnTo>
                    <a:pt x="283" y="62"/>
                  </a:lnTo>
                  <a:lnTo>
                    <a:pt x="156" y="128"/>
                  </a:lnTo>
                  <a:lnTo>
                    <a:pt x="131" y="128"/>
                  </a:lnTo>
                  <a:lnTo>
                    <a:pt x="4" y="62"/>
                  </a:lnTo>
                  <a:lnTo>
                    <a:pt x="0" y="3"/>
                  </a:lnTo>
                  <a:lnTo>
                    <a:pt x="4" y="0"/>
                  </a:lnTo>
                  <a:lnTo>
                    <a:pt x="59" y="23"/>
                  </a:lnTo>
                  <a:lnTo>
                    <a:pt x="143" y="66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26">
              <a:extLst>
                <a:ext uri="{FF2B5EF4-FFF2-40B4-BE49-F238E27FC236}">
                  <a16:creationId xmlns:a16="http://schemas.microsoft.com/office/drawing/2014/main" id="{8767DCC5-D1F2-47B1-9605-499CF512DD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689475"/>
              <a:ext cx="457200" cy="403225"/>
            </a:xfrm>
            <a:custGeom>
              <a:avLst/>
              <a:gdLst>
                <a:gd name="T0" fmla="*/ 288 w 288"/>
                <a:gd name="T1" fmla="*/ 188 h 254"/>
                <a:gd name="T2" fmla="*/ 283 w 288"/>
                <a:gd name="T3" fmla="*/ 247 h 254"/>
                <a:gd name="T4" fmla="*/ 270 w 288"/>
                <a:gd name="T5" fmla="*/ 254 h 254"/>
                <a:gd name="T6" fmla="*/ 0 w 288"/>
                <a:gd name="T7" fmla="*/ 17 h 254"/>
                <a:gd name="T8" fmla="*/ 0 w 288"/>
                <a:gd name="T9" fmla="*/ 11 h 254"/>
                <a:gd name="T10" fmla="*/ 72 w 288"/>
                <a:gd name="T11" fmla="*/ 0 h 254"/>
                <a:gd name="T12" fmla="*/ 288 w 288"/>
                <a:gd name="T13" fmla="*/ 188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254">
                  <a:moveTo>
                    <a:pt x="288" y="188"/>
                  </a:moveTo>
                  <a:lnTo>
                    <a:pt x="283" y="247"/>
                  </a:lnTo>
                  <a:lnTo>
                    <a:pt x="270" y="254"/>
                  </a:lnTo>
                  <a:lnTo>
                    <a:pt x="0" y="17"/>
                  </a:lnTo>
                  <a:lnTo>
                    <a:pt x="0" y="11"/>
                  </a:lnTo>
                  <a:lnTo>
                    <a:pt x="72" y="0"/>
                  </a:lnTo>
                  <a:lnTo>
                    <a:pt x="288" y="188"/>
                  </a:lnTo>
                  <a:close/>
                </a:path>
              </a:pathLst>
            </a:custGeom>
            <a:solidFill>
              <a:srgbClr val="BC2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7">
              <a:extLst>
                <a:ext uri="{FF2B5EF4-FFF2-40B4-BE49-F238E27FC236}">
                  <a16:creationId xmlns:a16="http://schemas.microsoft.com/office/drawing/2014/main" id="{33DD2B46-3580-4B04-AB64-5E1F2F1E29B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867275"/>
              <a:ext cx="209550" cy="225425"/>
            </a:xfrm>
            <a:custGeom>
              <a:avLst/>
              <a:gdLst>
                <a:gd name="T0" fmla="*/ 17 w 132"/>
                <a:gd name="T1" fmla="*/ 142 h 142"/>
                <a:gd name="T2" fmla="*/ 4 w 132"/>
                <a:gd name="T3" fmla="*/ 135 h 142"/>
                <a:gd name="T4" fmla="*/ 0 w 132"/>
                <a:gd name="T5" fmla="*/ 76 h 142"/>
                <a:gd name="T6" fmla="*/ 86 w 132"/>
                <a:gd name="T7" fmla="*/ 0 h 142"/>
                <a:gd name="T8" fmla="*/ 132 w 132"/>
                <a:gd name="T9" fmla="*/ 41 h 142"/>
                <a:gd name="T10" fmla="*/ 17 w 132"/>
                <a:gd name="T11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42">
                  <a:moveTo>
                    <a:pt x="17" y="142"/>
                  </a:moveTo>
                  <a:lnTo>
                    <a:pt x="4" y="135"/>
                  </a:lnTo>
                  <a:lnTo>
                    <a:pt x="0" y="76"/>
                  </a:lnTo>
                  <a:lnTo>
                    <a:pt x="86" y="0"/>
                  </a:lnTo>
                  <a:lnTo>
                    <a:pt x="132" y="41"/>
                  </a:lnTo>
                  <a:lnTo>
                    <a:pt x="17" y="142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8">
              <a:extLst>
                <a:ext uri="{FF2B5EF4-FFF2-40B4-BE49-F238E27FC236}">
                  <a16:creationId xmlns:a16="http://schemas.microsoft.com/office/drawing/2014/main" id="{E648602D-8786-4652-8ED5-004009149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591050"/>
              <a:ext cx="381000" cy="130175"/>
            </a:xfrm>
            <a:custGeom>
              <a:avLst/>
              <a:gdLst>
                <a:gd name="T0" fmla="*/ 143 w 240"/>
                <a:gd name="T1" fmla="*/ 60 h 82"/>
                <a:gd name="T2" fmla="*/ 3 w 240"/>
                <a:gd name="T3" fmla="*/ 82 h 82"/>
                <a:gd name="T4" fmla="*/ 0 w 240"/>
                <a:gd name="T5" fmla="*/ 79 h 82"/>
                <a:gd name="T6" fmla="*/ 4 w 240"/>
                <a:gd name="T7" fmla="*/ 21 h 82"/>
                <a:gd name="T8" fmla="*/ 139 w 240"/>
                <a:gd name="T9" fmla="*/ 0 h 82"/>
                <a:gd name="T10" fmla="*/ 147 w 240"/>
                <a:gd name="T11" fmla="*/ 0 h 82"/>
                <a:gd name="T12" fmla="*/ 240 w 240"/>
                <a:gd name="T13" fmla="*/ 14 h 82"/>
                <a:gd name="T14" fmla="*/ 240 w 240"/>
                <a:gd name="T15" fmla="*/ 76 h 82"/>
                <a:gd name="T16" fmla="*/ 143 w 240"/>
                <a:gd name="T17" fmla="*/ 6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0" h="82">
                  <a:moveTo>
                    <a:pt x="143" y="60"/>
                  </a:moveTo>
                  <a:lnTo>
                    <a:pt x="3" y="82"/>
                  </a:lnTo>
                  <a:lnTo>
                    <a:pt x="0" y="79"/>
                  </a:lnTo>
                  <a:lnTo>
                    <a:pt x="4" y="21"/>
                  </a:lnTo>
                  <a:lnTo>
                    <a:pt x="139" y="0"/>
                  </a:lnTo>
                  <a:lnTo>
                    <a:pt x="147" y="0"/>
                  </a:lnTo>
                  <a:lnTo>
                    <a:pt x="240" y="14"/>
                  </a:lnTo>
                  <a:lnTo>
                    <a:pt x="240" y="76"/>
                  </a:lnTo>
                  <a:lnTo>
                    <a:pt x="143" y="60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9">
              <a:extLst>
                <a:ext uri="{FF2B5EF4-FFF2-40B4-BE49-F238E27FC236}">
                  <a16:creationId xmlns:a16="http://schemas.microsoft.com/office/drawing/2014/main" id="{1CD75245-BED5-46A8-92BC-48BFACCBF66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9450" y="4610100"/>
              <a:ext cx="95250" cy="207962"/>
            </a:xfrm>
            <a:custGeom>
              <a:avLst/>
              <a:gdLst>
                <a:gd name="T0" fmla="*/ 0 w 60"/>
                <a:gd name="T1" fmla="*/ 131 h 131"/>
                <a:gd name="T2" fmla="*/ 0 w 60"/>
                <a:gd name="T3" fmla="*/ 0 h 131"/>
                <a:gd name="T4" fmla="*/ 37 w 60"/>
                <a:gd name="T5" fmla="*/ 6 h 131"/>
                <a:gd name="T6" fmla="*/ 60 w 60"/>
                <a:gd name="T7" fmla="*/ 34 h 131"/>
                <a:gd name="T8" fmla="*/ 60 w 60"/>
                <a:gd name="T9" fmla="*/ 106 h 131"/>
                <a:gd name="T10" fmla="*/ 0 w 60"/>
                <a:gd name="T11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131">
                  <a:moveTo>
                    <a:pt x="0" y="131"/>
                  </a:moveTo>
                  <a:lnTo>
                    <a:pt x="0" y="0"/>
                  </a:lnTo>
                  <a:lnTo>
                    <a:pt x="37" y="6"/>
                  </a:lnTo>
                  <a:lnTo>
                    <a:pt x="60" y="34"/>
                  </a:lnTo>
                  <a:lnTo>
                    <a:pt x="60" y="106"/>
                  </a:lnTo>
                  <a:lnTo>
                    <a:pt x="0" y="131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30">
              <a:extLst>
                <a:ext uri="{FF2B5EF4-FFF2-40B4-BE49-F238E27FC236}">
                  <a16:creationId xmlns:a16="http://schemas.microsoft.com/office/drawing/2014/main" id="{F7C475DD-8590-4884-AB99-5513A1533B9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5638" y="4606925"/>
              <a:ext cx="23812" cy="100012"/>
            </a:xfrm>
            <a:custGeom>
              <a:avLst/>
              <a:gdLst>
                <a:gd name="T0" fmla="*/ 0 w 15"/>
                <a:gd name="T1" fmla="*/ 61 h 63"/>
                <a:gd name="T2" fmla="*/ 15 w 15"/>
                <a:gd name="T3" fmla="*/ 63 h 63"/>
                <a:gd name="T4" fmla="*/ 15 w 15"/>
                <a:gd name="T5" fmla="*/ 2 h 63"/>
                <a:gd name="T6" fmla="*/ 0 w 15"/>
                <a:gd name="T7" fmla="*/ 0 h 63"/>
                <a:gd name="T8" fmla="*/ 0 w 15"/>
                <a:gd name="T9" fmla="*/ 6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63">
                  <a:moveTo>
                    <a:pt x="0" y="61"/>
                  </a:moveTo>
                  <a:lnTo>
                    <a:pt x="15" y="63"/>
                  </a:lnTo>
                  <a:lnTo>
                    <a:pt x="15" y="2"/>
                  </a:lnTo>
                  <a:lnTo>
                    <a:pt x="0" y="0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31">
              <a:extLst>
                <a:ext uri="{FF2B5EF4-FFF2-40B4-BE49-F238E27FC236}">
                  <a16:creationId xmlns:a16="http://schemas.microsoft.com/office/drawing/2014/main" id="{989CA8EA-B116-4BD1-9AD2-7243B32C27C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9088" y="4702175"/>
              <a:ext cx="147637" cy="39687"/>
            </a:xfrm>
            <a:custGeom>
              <a:avLst/>
              <a:gdLst>
                <a:gd name="T0" fmla="*/ 15 w 93"/>
                <a:gd name="T1" fmla="*/ 25 h 25"/>
                <a:gd name="T2" fmla="*/ 93 w 93"/>
                <a:gd name="T3" fmla="*/ 13 h 25"/>
                <a:gd name="T4" fmla="*/ 78 w 93"/>
                <a:gd name="T5" fmla="*/ 0 h 25"/>
                <a:gd name="T6" fmla="*/ 0 w 93"/>
                <a:gd name="T7" fmla="*/ 12 h 25"/>
                <a:gd name="T8" fmla="*/ 15 w 93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25">
                  <a:moveTo>
                    <a:pt x="15" y="25"/>
                  </a:moveTo>
                  <a:lnTo>
                    <a:pt x="93" y="13"/>
                  </a:lnTo>
                  <a:lnTo>
                    <a:pt x="78" y="0"/>
                  </a:lnTo>
                  <a:lnTo>
                    <a:pt x="0" y="12"/>
                  </a:lnTo>
                  <a:lnTo>
                    <a:pt x="15" y="25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32">
              <a:extLst>
                <a:ext uri="{FF2B5EF4-FFF2-40B4-BE49-F238E27FC236}">
                  <a16:creationId xmlns:a16="http://schemas.microsoft.com/office/drawing/2014/main" id="{24FC1C6E-C553-417C-A6FB-1ABC72F434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2938" y="5022850"/>
              <a:ext cx="100012" cy="79375"/>
            </a:xfrm>
            <a:custGeom>
              <a:avLst/>
              <a:gdLst>
                <a:gd name="T0" fmla="*/ 63 w 63"/>
                <a:gd name="T1" fmla="*/ 44 h 50"/>
                <a:gd name="T2" fmla="*/ 15 w 63"/>
                <a:gd name="T3" fmla="*/ 0 h 50"/>
                <a:gd name="T4" fmla="*/ 0 w 63"/>
                <a:gd name="T5" fmla="*/ 8 h 50"/>
                <a:gd name="T6" fmla="*/ 49 w 63"/>
                <a:gd name="T7" fmla="*/ 50 h 50"/>
                <a:gd name="T8" fmla="*/ 63 w 63"/>
                <a:gd name="T9" fmla="*/ 4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0">
                  <a:moveTo>
                    <a:pt x="63" y="44"/>
                  </a:moveTo>
                  <a:lnTo>
                    <a:pt x="15" y="0"/>
                  </a:lnTo>
                  <a:lnTo>
                    <a:pt x="0" y="8"/>
                  </a:lnTo>
                  <a:lnTo>
                    <a:pt x="49" y="50"/>
                  </a:lnTo>
                  <a:lnTo>
                    <a:pt x="63" y="44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33">
              <a:extLst>
                <a:ext uri="{FF2B5EF4-FFF2-40B4-BE49-F238E27FC236}">
                  <a16:creationId xmlns:a16="http://schemas.microsoft.com/office/drawing/2014/main" id="{9D2C29AD-E20F-4684-92B2-296082367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1313" y="5022850"/>
              <a:ext cx="100012" cy="79375"/>
            </a:xfrm>
            <a:custGeom>
              <a:avLst/>
              <a:gdLst>
                <a:gd name="T0" fmla="*/ 0 w 63"/>
                <a:gd name="T1" fmla="*/ 44 h 50"/>
                <a:gd name="T2" fmla="*/ 14 w 63"/>
                <a:gd name="T3" fmla="*/ 50 h 50"/>
                <a:gd name="T4" fmla="*/ 63 w 63"/>
                <a:gd name="T5" fmla="*/ 8 h 50"/>
                <a:gd name="T6" fmla="*/ 48 w 63"/>
                <a:gd name="T7" fmla="*/ 0 h 50"/>
                <a:gd name="T8" fmla="*/ 0 w 63"/>
                <a:gd name="T9" fmla="*/ 4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0">
                  <a:moveTo>
                    <a:pt x="0" y="44"/>
                  </a:moveTo>
                  <a:lnTo>
                    <a:pt x="14" y="50"/>
                  </a:lnTo>
                  <a:lnTo>
                    <a:pt x="63" y="8"/>
                  </a:lnTo>
                  <a:lnTo>
                    <a:pt x="48" y="0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855279C-539B-4A2A-98D2-4E247335F015}"/>
              </a:ext>
            </a:extLst>
          </p:cNvPr>
          <p:cNvGrpSpPr/>
          <p:nvPr userDrawn="1"/>
        </p:nvGrpSpPr>
        <p:grpSpPr>
          <a:xfrm>
            <a:off x="11010900" y="0"/>
            <a:ext cx="1181100" cy="6858000"/>
            <a:chOff x="10896600" y="0"/>
            <a:chExt cx="1295400" cy="6834188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760BE8FF-B35D-4540-A523-46710661A4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83925" y="0"/>
              <a:ext cx="1108075" cy="6834188"/>
            </a:xfrm>
            <a:custGeom>
              <a:avLst/>
              <a:gdLst>
                <a:gd name="T0" fmla="*/ 698 w 698"/>
                <a:gd name="T1" fmla="*/ 0 h 4305"/>
                <a:gd name="T2" fmla="*/ 698 w 698"/>
                <a:gd name="T3" fmla="*/ 4305 h 4305"/>
                <a:gd name="T4" fmla="*/ 420 w 698"/>
                <a:gd name="T5" fmla="*/ 4305 h 4305"/>
                <a:gd name="T6" fmla="*/ 0 w 698"/>
                <a:gd name="T7" fmla="*/ 2264 h 4305"/>
                <a:gd name="T8" fmla="*/ 258 w 698"/>
                <a:gd name="T9" fmla="*/ 311 h 4305"/>
                <a:gd name="T10" fmla="*/ 334 w 698"/>
                <a:gd name="T11" fmla="*/ 0 h 4305"/>
                <a:gd name="T12" fmla="*/ 698 w 698"/>
                <a:gd name="T13" fmla="*/ 0 h 4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8" h="4305">
                  <a:moveTo>
                    <a:pt x="698" y="0"/>
                  </a:moveTo>
                  <a:lnTo>
                    <a:pt x="698" y="4305"/>
                  </a:lnTo>
                  <a:lnTo>
                    <a:pt x="420" y="4305"/>
                  </a:lnTo>
                  <a:lnTo>
                    <a:pt x="0" y="2264"/>
                  </a:lnTo>
                  <a:lnTo>
                    <a:pt x="258" y="311"/>
                  </a:lnTo>
                  <a:lnTo>
                    <a:pt x="334" y="0"/>
                  </a:lnTo>
                  <a:lnTo>
                    <a:pt x="698" y="0"/>
                  </a:lnTo>
                  <a:close/>
                </a:path>
              </a:pathLst>
            </a:custGeom>
            <a:solidFill>
              <a:srgbClr val="BC2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A0A4ABDD-EDE4-4314-8BAA-8D712E550B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8400" y="0"/>
              <a:ext cx="863600" cy="608013"/>
            </a:xfrm>
            <a:custGeom>
              <a:avLst/>
              <a:gdLst>
                <a:gd name="T0" fmla="*/ 544 w 544"/>
                <a:gd name="T1" fmla="*/ 0 h 383"/>
                <a:gd name="T2" fmla="*/ 0 w 544"/>
                <a:gd name="T3" fmla="*/ 383 h 383"/>
                <a:gd name="T4" fmla="*/ 94 w 544"/>
                <a:gd name="T5" fmla="*/ 0 h 383"/>
                <a:gd name="T6" fmla="*/ 544 w 544"/>
                <a:gd name="T7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383">
                  <a:moveTo>
                    <a:pt x="544" y="0"/>
                  </a:moveTo>
                  <a:lnTo>
                    <a:pt x="0" y="383"/>
                  </a:lnTo>
                  <a:lnTo>
                    <a:pt x="94" y="0"/>
                  </a:lnTo>
                  <a:lnTo>
                    <a:pt x="544" y="0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7">
              <a:extLst>
                <a:ext uri="{FF2B5EF4-FFF2-40B4-BE49-F238E27FC236}">
                  <a16:creationId xmlns:a16="http://schemas.microsoft.com/office/drawing/2014/main" id="{96ED428E-EB55-4E0B-A7D8-0D282C703A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66476" y="180975"/>
              <a:ext cx="768350" cy="2798763"/>
            </a:xfrm>
            <a:custGeom>
              <a:avLst/>
              <a:gdLst>
                <a:gd name="T0" fmla="*/ 484 w 484"/>
                <a:gd name="T1" fmla="*/ 0 h 1763"/>
                <a:gd name="T2" fmla="*/ 0 w 484"/>
                <a:gd name="T3" fmla="*/ 1763 h 1763"/>
                <a:gd name="T4" fmla="*/ 206 w 484"/>
                <a:gd name="T5" fmla="*/ 197 h 1763"/>
                <a:gd name="T6" fmla="*/ 484 w 484"/>
                <a:gd name="T7" fmla="*/ 0 h 17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4" h="1763">
                  <a:moveTo>
                    <a:pt x="484" y="0"/>
                  </a:moveTo>
                  <a:lnTo>
                    <a:pt x="0" y="1763"/>
                  </a:lnTo>
                  <a:lnTo>
                    <a:pt x="206" y="197"/>
                  </a:lnTo>
                  <a:lnTo>
                    <a:pt x="484" y="0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B68AB937-9D5A-4FDC-AD0B-F48A8421D4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6600" y="2863850"/>
              <a:ext cx="854075" cy="3970338"/>
            </a:xfrm>
            <a:custGeom>
              <a:avLst/>
              <a:gdLst>
                <a:gd name="T0" fmla="*/ 190 w 538"/>
                <a:gd name="T1" fmla="*/ 0 h 2501"/>
                <a:gd name="T2" fmla="*/ 538 w 538"/>
                <a:gd name="T3" fmla="*/ 2501 h 2501"/>
                <a:gd name="T4" fmla="*/ 0 w 538"/>
                <a:gd name="T5" fmla="*/ 293 h 2501"/>
                <a:gd name="T6" fmla="*/ 190 w 538"/>
                <a:gd name="T7" fmla="*/ 0 h 2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8" h="2501">
                  <a:moveTo>
                    <a:pt x="190" y="0"/>
                  </a:moveTo>
                  <a:lnTo>
                    <a:pt x="538" y="2501"/>
                  </a:lnTo>
                  <a:lnTo>
                    <a:pt x="0" y="293"/>
                  </a:lnTo>
                  <a:lnTo>
                    <a:pt x="190" y="0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5A346065-8680-443A-A45F-6C62317DD2A0}"/>
              </a:ext>
            </a:extLst>
          </p:cNvPr>
          <p:cNvSpPr/>
          <p:nvPr/>
        </p:nvSpPr>
        <p:spPr>
          <a:xfrm rot="16200000">
            <a:off x="11016961" y="3336668"/>
            <a:ext cx="1886735" cy="184666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200" spc="100" baseline="0" dirty="0">
                <a:solidFill>
                  <a:schemeClr val="bg1"/>
                </a:solidFill>
                <a:effectLst/>
                <a:latin typeface="+mn-lt"/>
                <a:ea typeface="BatangChe" panose="02030609000101010101" pitchFamily="49" charset="-127"/>
                <a:cs typeface="Arial" panose="020B0604020202020204" pitchFamily="34" charset="0"/>
              </a:rPr>
              <a:t>@</a:t>
            </a:r>
            <a:r>
              <a:rPr lang="en-US" sz="1200" spc="100" baseline="0" dirty="0" err="1">
                <a:solidFill>
                  <a:schemeClr val="bg1"/>
                </a:solidFill>
                <a:effectLst/>
                <a:latin typeface="+mn-lt"/>
                <a:ea typeface="BatangChe" panose="02030609000101010101" pitchFamily="49" charset="-127"/>
                <a:cs typeface="Arial" panose="020B0604020202020204" pitchFamily="34" charset="0"/>
              </a:rPr>
              <a:t>sparta_eu</a:t>
            </a:r>
            <a:r>
              <a:rPr lang="en-US" sz="1200" spc="100" baseline="0" dirty="0">
                <a:solidFill>
                  <a:schemeClr val="bg1"/>
                </a:solidFill>
                <a:effectLst/>
                <a:latin typeface="+mn-lt"/>
                <a:ea typeface="BatangChe" panose="02030609000101010101" pitchFamily="49" charset="-127"/>
                <a:cs typeface="Arial" panose="020B0604020202020204" pitchFamily="34" charset="0"/>
              </a:rPr>
              <a:t> | sparta.eu</a:t>
            </a:r>
            <a:endParaRPr lang="fr-FR" sz="2000" spc="100" baseline="0" dirty="0">
              <a:solidFill>
                <a:schemeClr val="bg1"/>
              </a:solidFill>
              <a:effectLst/>
              <a:latin typeface="+mn-lt"/>
              <a:ea typeface="BatangChe" panose="02030609000101010101" pitchFamily="49" charset="-127"/>
              <a:cs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6E1DEFD-C5E6-4EC2-AB69-7A0ECE8E0A2A}"/>
              </a:ext>
            </a:extLst>
          </p:cNvPr>
          <p:cNvSpPr/>
          <p:nvPr/>
        </p:nvSpPr>
        <p:spPr>
          <a:xfrm>
            <a:off x="11851325" y="6411498"/>
            <a:ext cx="218009" cy="215444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algn="ctr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</a:pPr>
            <a:fld id="{0328457F-132B-4300-A6DA-AA6E301E4F7F}" type="slidenum">
              <a:rPr lang="en-US" sz="1400" smtClean="0">
                <a:solidFill>
                  <a:schemeClr val="bg1"/>
                </a:solidFill>
                <a:effectLst/>
                <a:latin typeface="+mn-lt"/>
                <a:ea typeface="BatangChe" panose="02030609000101010101" pitchFamily="49" charset="-127"/>
                <a:cs typeface="Arial" panose="020B0604020202020204" pitchFamily="34" charset="0"/>
              </a:rPr>
              <a:t>‹Nr.›</a:t>
            </a:fld>
            <a:endParaRPr lang="fr-FR" sz="2400" dirty="0">
              <a:solidFill>
                <a:schemeClr val="bg1"/>
              </a:solidFill>
              <a:effectLst/>
              <a:latin typeface="+mn-lt"/>
              <a:ea typeface="BatangChe" panose="02030609000101010101" pitchFamily="49" charset="-127"/>
              <a:cs typeface="Arial" panose="020B0604020202020204" pitchFamily="34" charset="0"/>
            </a:endParaRPr>
          </a:p>
        </p:txBody>
      </p:sp>
      <p:graphicFrame>
        <p:nvGraphicFramePr>
          <p:cNvPr id="32" name="Object 31" hidden="1">
            <a:extLst>
              <a:ext uri="{FF2B5EF4-FFF2-40B4-BE49-F238E27FC236}">
                <a16:creationId xmlns:a16="http://schemas.microsoft.com/office/drawing/2014/main" id="{C3F33D86-0E0A-4F5E-BE04-18C2F0FD8F14}"/>
              </a:ext>
            </a:extLst>
          </p:cNvPr>
          <p:cNvGraphicFramePr>
            <a:graphicFrameLocks noChangeAspect="1"/>
          </p:cNvGraphicFramePr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3404492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654"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32" name="Object 31" hidden="1">
                        <a:extLst>
                          <a:ext uri="{FF2B5EF4-FFF2-40B4-BE49-F238E27FC236}">
                            <a16:creationId xmlns:a16="http://schemas.microsoft.com/office/drawing/2014/main" id="{C3F33D86-0E0A-4F5E-BE04-18C2F0FD8F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tangle 32" hidden="1">
            <a:extLst>
              <a:ext uri="{FF2B5EF4-FFF2-40B4-BE49-F238E27FC236}">
                <a16:creationId xmlns:a16="http://schemas.microsoft.com/office/drawing/2014/main" id="{001CF49D-6018-43E2-AA50-A37C37DD3866}"/>
              </a:ext>
            </a:extLst>
          </p:cNvPr>
          <p:cNvSpPr/>
          <p:nvPr>
            <p:custDataLst>
              <p:tags r:id="rId3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CA5D29D-C11E-4B14-BC9E-4134FC19EBFB}"/>
              </a:ext>
            </a:extLst>
          </p:cNvPr>
          <p:cNvGrpSpPr/>
          <p:nvPr/>
        </p:nvGrpSpPr>
        <p:grpSpPr>
          <a:xfrm>
            <a:off x="167808" y="6353461"/>
            <a:ext cx="271462" cy="351028"/>
            <a:chOff x="4124325" y="4591050"/>
            <a:chExt cx="460375" cy="595313"/>
          </a:xfrm>
        </p:grpSpPr>
        <p:sp>
          <p:nvSpPr>
            <p:cNvPr id="36" name="Freeform 25">
              <a:extLst>
                <a:ext uri="{FF2B5EF4-FFF2-40B4-BE49-F238E27FC236}">
                  <a16:creationId xmlns:a16="http://schemas.microsoft.com/office/drawing/2014/main" id="{8273E85B-6C25-46B4-B890-3BD6B1733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983163"/>
              <a:ext cx="457200" cy="203200"/>
            </a:xfrm>
            <a:custGeom>
              <a:avLst/>
              <a:gdLst>
                <a:gd name="T0" fmla="*/ 143 w 288"/>
                <a:gd name="T1" fmla="*/ 66 h 128"/>
                <a:gd name="T2" fmla="*/ 228 w 288"/>
                <a:gd name="T3" fmla="*/ 23 h 128"/>
                <a:gd name="T4" fmla="*/ 283 w 288"/>
                <a:gd name="T5" fmla="*/ 0 h 128"/>
                <a:gd name="T6" fmla="*/ 288 w 288"/>
                <a:gd name="T7" fmla="*/ 3 h 128"/>
                <a:gd name="T8" fmla="*/ 283 w 288"/>
                <a:gd name="T9" fmla="*/ 62 h 128"/>
                <a:gd name="T10" fmla="*/ 156 w 288"/>
                <a:gd name="T11" fmla="*/ 128 h 128"/>
                <a:gd name="T12" fmla="*/ 131 w 288"/>
                <a:gd name="T13" fmla="*/ 128 h 128"/>
                <a:gd name="T14" fmla="*/ 4 w 288"/>
                <a:gd name="T15" fmla="*/ 62 h 128"/>
                <a:gd name="T16" fmla="*/ 0 w 288"/>
                <a:gd name="T17" fmla="*/ 3 h 128"/>
                <a:gd name="T18" fmla="*/ 4 w 288"/>
                <a:gd name="T19" fmla="*/ 0 h 128"/>
                <a:gd name="T20" fmla="*/ 59 w 288"/>
                <a:gd name="T21" fmla="*/ 23 h 128"/>
                <a:gd name="T22" fmla="*/ 143 w 288"/>
                <a:gd name="T23" fmla="*/ 6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8" h="128">
                  <a:moveTo>
                    <a:pt x="143" y="66"/>
                  </a:moveTo>
                  <a:lnTo>
                    <a:pt x="228" y="23"/>
                  </a:lnTo>
                  <a:lnTo>
                    <a:pt x="283" y="0"/>
                  </a:lnTo>
                  <a:lnTo>
                    <a:pt x="288" y="3"/>
                  </a:lnTo>
                  <a:lnTo>
                    <a:pt x="283" y="62"/>
                  </a:lnTo>
                  <a:lnTo>
                    <a:pt x="156" y="128"/>
                  </a:lnTo>
                  <a:lnTo>
                    <a:pt x="131" y="128"/>
                  </a:lnTo>
                  <a:lnTo>
                    <a:pt x="4" y="62"/>
                  </a:lnTo>
                  <a:lnTo>
                    <a:pt x="0" y="3"/>
                  </a:lnTo>
                  <a:lnTo>
                    <a:pt x="4" y="0"/>
                  </a:lnTo>
                  <a:lnTo>
                    <a:pt x="59" y="23"/>
                  </a:lnTo>
                  <a:lnTo>
                    <a:pt x="143" y="66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6">
              <a:extLst>
                <a:ext uri="{FF2B5EF4-FFF2-40B4-BE49-F238E27FC236}">
                  <a16:creationId xmlns:a16="http://schemas.microsoft.com/office/drawing/2014/main" id="{8B1FC910-036C-4CA2-B9E4-082CC830AF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689475"/>
              <a:ext cx="457200" cy="403225"/>
            </a:xfrm>
            <a:custGeom>
              <a:avLst/>
              <a:gdLst>
                <a:gd name="T0" fmla="*/ 288 w 288"/>
                <a:gd name="T1" fmla="*/ 188 h 254"/>
                <a:gd name="T2" fmla="*/ 283 w 288"/>
                <a:gd name="T3" fmla="*/ 247 h 254"/>
                <a:gd name="T4" fmla="*/ 270 w 288"/>
                <a:gd name="T5" fmla="*/ 254 h 254"/>
                <a:gd name="T6" fmla="*/ 0 w 288"/>
                <a:gd name="T7" fmla="*/ 17 h 254"/>
                <a:gd name="T8" fmla="*/ 0 w 288"/>
                <a:gd name="T9" fmla="*/ 11 h 254"/>
                <a:gd name="T10" fmla="*/ 72 w 288"/>
                <a:gd name="T11" fmla="*/ 0 h 254"/>
                <a:gd name="T12" fmla="*/ 288 w 288"/>
                <a:gd name="T13" fmla="*/ 188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254">
                  <a:moveTo>
                    <a:pt x="288" y="188"/>
                  </a:moveTo>
                  <a:lnTo>
                    <a:pt x="283" y="247"/>
                  </a:lnTo>
                  <a:lnTo>
                    <a:pt x="270" y="254"/>
                  </a:lnTo>
                  <a:lnTo>
                    <a:pt x="0" y="17"/>
                  </a:lnTo>
                  <a:lnTo>
                    <a:pt x="0" y="11"/>
                  </a:lnTo>
                  <a:lnTo>
                    <a:pt x="72" y="0"/>
                  </a:lnTo>
                  <a:lnTo>
                    <a:pt x="288" y="188"/>
                  </a:lnTo>
                  <a:close/>
                </a:path>
              </a:pathLst>
            </a:custGeom>
            <a:solidFill>
              <a:srgbClr val="BC2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7">
              <a:extLst>
                <a:ext uri="{FF2B5EF4-FFF2-40B4-BE49-F238E27FC236}">
                  <a16:creationId xmlns:a16="http://schemas.microsoft.com/office/drawing/2014/main" id="{B235EC5C-68B2-4C25-A7D1-AEE3A629CA1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867275"/>
              <a:ext cx="209550" cy="225425"/>
            </a:xfrm>
            <a:custGeom>
              <a:avLst/>
              <a:gdLst>
                <a:gd name="T0" fmla="*/ 17 w 132"/>
                <a:gd name="T1" fmla="*/ 142 h 142"/>
                <a:gd name="T2" fmla="*/ 4 w 132"/>
                <a:gd name="T3" fmla="*/ 135 h 142"/>
                <a:gd name="T4" fmla="*/ 0 w 132"/>
                <a:gd name="T5" fmla="*/ 76 h 142"/>
                <a:gd name="T6" fmla="*/ 86 w 132"/>
                <a:gd name="T7" fmla="*/ 0 h 142"/>
                <a:gd name="T8" fmla="*/ 132 w 132"/>
                <a:gd name="T9" fmla="*/ 41 h 142"/>
                <a:gd name="T10" fmla="*/ 17 w 132"/>
                <a:gd name="T11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42">
                  <a:moveTo>
                    <a:pt x="17" y="142"/>
                  </a:moveTo>
                  <a:lnTo>
                    <a:pt x="4" y="135"/>
                  </a:lnTo>
                  <a:lnTo>
                    <a:pt x="0" y="76"/>
                  </a:lnTo>
                  <a:lnTo>
                    <a:pt x="86" y="0"/>
                  </a:lnTo>
                  <a:lnTo>
                    <a:pt x="132" y="41"/>
                  </a:lnTo>
                  <a:lnTo>
                    <a:pt x="17" y="142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8">
              <a:extLst>
                <a:ext uri="{FF2B5EF4-FFF2-40B4-BE49-F238E27FC236}">
                  <a16:creationId xmlns:a16="http://schemas.microsoft.com/office/drawing/2014/main" id="{D1091D35-B897-4BCD-AC06-B5CD7EA0D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591050"/>
              <a:ext cx="381000" cy="130175"/>
            </a:xfrm>
            <a:custGeom>
              <a:avLst/>
              <a:gdLst>
                <a:gd name="T0" fmla="*/ 143 w 240"/>
                <a:gd name="T1" fmla="*/ 60 h 82"/>
                <a:gd name="T2" fmla="*/ 3 w 240"/>
                <a:gd name="T3" fmla="*/ 82 h 82"/>
                <a:gd name="T4" fmla="*/ 0 w 240"/>
                <a:gd name="T5" fmla="*/ 79 h 82"/>
                <a:gd name="T6" fmla="*/ 4 w 240"/>
                <a:gd name="T7" fmla="*/ 21 h 82"/>
                <a:gd name="T8" fmla="*/ 139 w 240"/>
                <a:gd name="T9" fmla="*/ 0 h 82"/>
                <a:gd name="T10" fmla="*/ 147 w 240"/>
                <a:gd name="T11" fmla="*/ 0 h 82"/>
                <a:gd name="T12" fmla="*/ 240 w 240"/>
                <a:gd name="T13" fmla="*/ 14 h 82"/>
                <a:gd name="T14" fmla="*/ 240 w 240"/>
                <a:gd name="T15" fmla="*/ 76 h 82"/>
                <a:gd name="T16" fmla="*/ 143 w 240"/>
                <a:gd name="T17" fmla="*/ 6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0" h="82">
                  <a:moveTo>
                    <a:pt x="143" y="60"/>
                  </a:moveTo>
                  <a:lnTo>
                    <a:pt x="3" y="82"/>
                  </a:lnTo>
                  <a:lnTo>
                    <a:pt x="0" y="79"/>
                  </a:lnTo>
                  <a:lnTo>
                    <a:pt x="4" y="21"/>
                  </a:lnTo>
                  <a:lnTo>
                    <a:pt x="139" y="0"/>
                  </a:lnTo>
                  <a:lnTo>
                    <a:pt x="147" y="0"/>
                  </a:lnTo>
                  <a:lnTo>
                    <a:pt x="240" y="14"/>
                  </a:lnTo>
                  <a:lnTo>
                    <a:pt x="240" y="76"/>
                  </a:lnTo>
                  <a:lnTo>
                    <a:pt x="143" y="60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29">
              <a:extLst>
                <a:ext uri="{FF2B5EF4-FFF2-40B4-BE49-F238E27FC236}">
                  <a16:creationId xmlns:a16="http://schemas.microsoft.com/office/drawing/2014/main" id="{7E1EA12C-368C-4A26-A37A-BDEF26B52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9450" y="4610100"/>
              <a:ext cx="95250" cy="207962"/>
            </a:xfrm>
            <a:custGeom>
              <a:avLst/>
              <a:gdLst>
                <a:gd name="T0" fmla="*/ 0 w 60"/>
                <a:gd name="T1" fmla="*/ 131 h 131"/>
                <a:gd name="T2" fmla="*/ 0 w 60"/>
                <a:gd name="T3" fmla="*/ 0 h 131"/>
                <a:gd name="T4" fmla="*/ 37 w 60"/>
                <a:gd name="T5" fmla="*/ 6 h 131"/>
                <a:gd name="T6" fmla="*/ 60 w 60"/>
                <a:gd name="T7" fmla="*/ 34 h 131"/>
                <a:gd name="T8" fmla="*/ 60 w 60"/>
                <a:gd name="T9" fmla="*/ 106 h 131"/>
                <a:gd name="T10" fmla="*/ 0 w 60"/>
                <a:gd name="T11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131">
                  <a:moveTo>
                    <a:pt x="0" y="131"/>
                  </a:moveTo>
                  <a:lnTo>
                    <a:pt x="0" y="0"/>
                  </a:lnTo>
                  <a:lnTo>
                    <a:pt x="37" y="6"/>
                  </a:lnTo>
                  <a:lnTo>
                    <a:pt x="60" y="34"/>
                  </a:lnTo>
                  <a:lnTo>
                    <a:pt x="60" y="106"/>
                  </a:lnTo>
                  <a:lnTo>
                    <a:pt x="0" y="131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30">
              <a:extLst>
                <a:ext uri="{FF2B5EF4-FFF2-40B4-BE49-F238E27FC236}">
                  <a16:creationId xmlns:a16="http://schemas.microsoft.com/office/drawing/2014/main" id="{9EE8E045-66BD-40F5-88F5-498821DF26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5638" y="4606925"/>
              <a:ext cx="23812" cy="100012"/>
            </a:xfrm>
            <a:custGeom>
              <a:avLst/>
              <a:gdLst>
                <a:gd name="T0" fmla="*/ 0 w 15"/>
                <a:gd name="T1" fmla="*/ 61 h 63"/>
                <a:gd name="T2" fmla="*/ 15 w 15"/>
                <a:gd name="T3" fmla="*/ 63 h 63"/>
                <a:gd name="T4" fmla="*/ 15 w 15"/>
                <a:gd name="T5" fmla="*/ 2 h 63"/>
                <a:gd name="T6" fmla="*/ 0 w 15"/>
                <a:gd name="T7" fmla="*/ 0 h 63"/>
                <a:gd name="T8" fmla="*/ 0 w 15"/>
                <a:gd name="T9" fmla="*/ 6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63">
                  <a:moveTo>
                    <a:pt x="0" y="61"/>
                  </a:moveTo>
                  <a:lnTo>
                    <a:pt x="15" y="63"/>
                  </a:lnTo>
                  <a:lnTo>
                    <a:pt x="15" y="2"/>
                  </a:lnTo>
                  <a:lnTo>
                    <a:pt x="0" y="0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1">
              <a:extLst>
                <a:ext uri="{FF2B5EF4-FFF2-40B4-BE49-F238E27FC236}">
                  <a16:creationId xmlns:a16="http://schemas.microsoft.com/office/drawing/2014/main" id="{D3E9F10F-D425-44E7-8CB5-36B76201B2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9088" y="4702175"/>
              <a:ext cx="147637" cy="39687"/>
            </a:xfrm>
            <a:custGeom>
              <a:avLst/>
              <a:gdLst>
                <a:gd name="T0" fmla="*/ 15 w 93"/>
                <a:gd name="T1" fmla="*/ 25 h 25"/>
                <a:gd name="T2" fmla="*/ 93 w 93"/>
                <a:gd name="T3" fmla="*/ 13 h 25"/>
                <a:gd name="T4" fmla="*/ 78 w 93"/>
                <a:gd name="T5" fmla="*/ 0 h 25"/>
                <a:gd name="T6" fmla="*/ 0 w 93"/>
                <a:gd name="T7" fmla="*/ 12 h 25"/>
                <a:gd name="T8" fmla="*/ 15 w 93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25">
                  <a:moveTo>
                    <a:pt x="15" y="25"/>
                  </a:moveTo>
                  <a:lnTo>
                    <a:pt x="93" y="13"/>
                  </a:lnTo>
                  <a:lnTo>
                    <a:pt x="78" y="0"/>
                  </a:lnTo>
                  <a:lnTo>
                    <a:pt x="0" y="12"/>
                  </a:lnTo>
                  <a:lnTo>
                    <a:pt x="15" y="25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2">
              <a:extLst>
                <a:ext uri="{FF2B5EF4-FFF2-40B4-BE49-F238E27FC236}">
                  <a16:creationId xmlns:a16="http://schemas.microsoft.com/office/drawing/2014/main" id="{8B39189E-56CF-49F7-996E-6457A11B4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2938" y="5022850"/>
              <a:ext cx="100012" cy="79375"/>
            </a:xfrm>
            <a:custGeom>
              <a:avLst/>
              <a:gdLst>
                <a:gd name="T0" fmla="*/ 63 w 63"/>
                <a:gd name="T1" fmla="*/ 44 h 50"/>
                <a:gd name="T2" fmla="*/ 15 w 63"/>
                <a:gd name="T3" fmla="*/ 0 h 50"/>
                <a:gd name="T4" fmla="*/ 0 w 63"/>
                <a:gd name="T5" fmla="*/ 8 h 50"/>
                <a:gd name="T6" fmla="*/ 49 w 63"/>
                <a:gd name="T7" fmla="*/ 50 h 50"/>
                <a:gd name="T8" fmla="*/ 63 w 63"/>
                <a:gd name="T9" fmla="*/ 4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0">
                  <a:moveTo>
                    <a:pt x="63" y="44"/>
                  </a:moveTo>
                  <a:lnTo>
                    <a:pt x="15" y="0"/>
                  </a:lnTo>
                  <a:lnTo>
                    <a:pt x="0" y="8"/>
                  </a:lnTo>
                  <a:lnTo>
                    <a:pt x="49" y="50"/>
                  </a:lnTo>
                  <a:lnTo>
                    <a:pt x="63" y="44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3">
              <a:extLst>
                <a:ext uri="{FF2B5EF4-FFF2-40B4-BE49-F238E27FC236}">
                  <a16:creationId xmlns:a16="http://schemas.microsoft.com/office/drawing/2014/main" id="{E74A06D7-8AF7-42E4-B91B-1C0A45BCDFC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1313" y="5022850"/>
              <a:ext cx="100012" cy="79375"/>
            </a:xfrm>
            <a:custGeom>
              <a:avLst/>
              <a:gdLst>
                <a:gd name="T0" fmla="*/ 0 w 63"/>
                <a:gd name="T1" fmla="*/ 44 h 50"/>
                <a:gd name="T2" fmla="*/ 14 w 63"/>
                <a:gd name="T3" fmla="*/ 50 h 50"/>
                <a:gd name="T4" fmla="*/ 63 w 63"/>
                <a:gd name="T5" fmla="*/ 8 h 50"/>
                <a:gd name="T6" fmla="*/ 48 w 63"/>
                <a:gd name="T7" fmla="*/ 0 h 50"/>
                <a:gd name="T8" fmla="*/ 0 w 63"/>
                <a:gd name="T9" fmla="*/ 4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0">
                  <a:moveTo>
                    <a:pt x="0" y="44"/>
                  </a:moveTo>
                  <a:lnTo>
                    <a:pt x="14" y="50"/>
                  </a:lnTo>
                  <a:lnTo>
                    <a:pt x="63" y="8"/>
                  </a:lnTo>
                  <a:lnTo>
                    <a:pt x="48" y="0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42BEB269-F91F-458E-896B-10C7CC8E8AEF}"/>
              </a:ext>
            </a:extLst>
          </p:cNvPr>
          <p:cNvSpPr/>
          <p:nvPr/>
        </p:nvSpPr>
        <p:spPr>
          <a:xfrm>
            <a:off x="240702" y="360844"/>
            <a:ext cx="76200" cy="64880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aphicFrame>
        <p:nvGraphicFramePr>
          <p:cNvPr id="45" name="Object 44" hidden="1">
            <a:extLst>
              <a:ext uri="{FF2B5EF4-FFF2-40B4-BE49-F238E27FC236}">
                <a16:creationId xmlns:a16="http://schemas.microsoft.com/office/drawing/2014/main" id="{B6A8E5E9-3DED-4186-BD10-F2C817F7F8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731605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655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32" name="Object 31" hidden="1">
                        <a:extLst>
                          <a:ext uri="{FF2B5EF4-FFF2-40B4-BE49-F238E27FC236}">
                            <a16:creationId xmlns:a16="http://schemas.microsoft.com/office/drawing/2014/main" id="{C3F33D86-0E0A-4F5E-BE04-18C2F0FD8F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Rectangle 45" hidden="1">
            <a:extLst>
              <a:ext uri="{FF2B5EF4-FFF2-40B4-BE49-F238E27FC236}">
                <a16:creationId xmlns:a16="http://schemas.microsoft.com/office/drawing/2014/main" id="{C4CAD0CA-F2B7-4794-AF83-E1200D8C943A}"/>
              </a:ext>
            </a:extLst>
          </p:cNvPr>
          <p:cNvSpPr/>
          <p:nvPr userDrawn="1">
            <p:custDataLst>
              <p:tags r:id="rId3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913E804F-7227-4028-B77C-35175004DBC3}"/>
              </a:ext>
            </a:extLst>
          </p:cNvPr>
          <p:cNvGrpSpPr/>
          <p:nvPr userDrawn="1"/>
        </p:nvGrpSpPr>
        <p:grpSpPr>
          <a:xfrm>
            <a:off x="167808" y="6353461"/>
            <a:ext cx="271462" cy="351028"/>
            <a:chOff x="4124325" y="4591050"/>
            <a:chExt cx="460375" cy="595313"/>
          </a:xfrm>
        </p:grpSpPr>
        <p:sp>
          <p:nvSpPr>
            <p:cNvPr id="48" name="Freeform 25">
              <a:extLst>
                <a:ext uri="{FF2B5EF4-FFF2-40B4-BE49-F238E27FC236}">
                  <a16:creationId xmlns:a16="http://schemas.microsoft.com/office/drawing/2014/main" id="{81D616EA-C486-466A-B6CD-649E4C7C032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983163"/>
              <a:ext cx="457200" cy="203200"/>
            </a:xfrm>
            <a:custGeom>
              <a:avLst/>
              <a:gdLst>
                <a:gd name="T0" fmla="*/ 143 w 288"/>
                <a:gd name="T1" fmla="*/ 66 h 128"/>
                <a:gd name="T2" fmla="*/ 228 w 288"/>
                <a:gd name="T3" fmla="*/ 23 h 128"/>
                <a:gd name="T4" fmla="*/ 283 w 288"/>
                <a:gd name="T5" fmla="*/ 0 h 128"/>
                <a:gd name="T6" fmla="*/ 288 w 288"/>
                <a:gd name="T7" fmla="*/ 3 h 128"/>
                <a:gd name="T8" fmla="*/ 283 w 288"/>
                <a:gd name="T9" fmla="*/ 62 h 128"/>
                <a:gd name="T10" fmla="*/ 156 w 288"/>
                <a:gd name="T11" fmla="*/ 128 h 128"/>
                <a:gd name="T12" fmla="*/ 131 w 288"/>
                <a:gd name="T13" fmla="*/ 128 h 128"/>
                <a:gd name="T14" fmla="*/ 4 w 288"/>
                <a:gd name="T15" fmla="*/ 62 h 128"/>
                <a:gd name="T16" fmla="*/ 0 w 288"/>
                <a:gd name="T17" fmla="*/ 3 h 128"/>
                <a:gd name="T18" fmla="*/ 4 w 288"/>
                <a:gd name="T19" fmla="*/ 0 h 128"/>
                <a:gd name="T20" fmla="*/ 59 w 288"/>
                <a:gd name="T21" fmla="*/ 23 h 128"/>
                <a:gd name="T22" fmla="*/ 143 w 288"/>
                <a:gd name="T23" fmla="*/ 6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8" h="128">
                  <a:moveTo>
                    <a:pt x="143" y="66"/>
                  </a:moveTo>
                  <a:lnTo>
                    <a:pt x="228" y="23"/>
                  </a:lnTo>
                  <a:lnTo>
                    <a:pt x="283" y="0"/>
                  </a:lnTo>
                  <a:lnTo>
                    <a:pt x="288" y="3"/>
                  </a:lnTo>
                  <a:lnTo>
                    <a:pt x="283" y="62"/>
                  </a:lnTo>
                  <a:lnTo>
                    <a:pt x="156" y="128"/>
                  </a:lnTo>
                  <a:lnTo>
                    <a:pt x="131" y="128"/>
                  </a:lnTo>
                  <a:lnTo>
                    <a:pt x="4" y="62"/>
                  </a:lnTo>
                  <a:lnTo>
                    <a:pt x="0" y="3"/>
                  </a:lnTo>
                  <a:lnTo>
                    <a:pt x="4" y="0"/>
                  </a:lnTo>
                  <a:lnTo>
                    <a:pt x="59" y="23"/>
                  </a:lnTo>
                  <a:lnTo>
                    <a:pt x="143" y="66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6">
              <a:extLst>
                <a:ext uri="{FF2B5EF4-FFF2-40B4-BE49-F238E27FC236}">
                  <a16:creationId xmlns:a16="http://schemas.microsoft.com/office/drawing/2014/main" id="{8FEBF371-6DC7-4DA1-BDD7-5386F91B78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689475"/>
              <a:ext cx="457200" cy="403225"/>
            </a:xfrm>
            <a:custGeom>
              <a:avLst/>
              <a:gdLst>
                <a:gd name="T0" fmla="*/ 288 w 288"/>
                <a:gd name="T1" fmla="*/ 188 h 254"/>
                <a:gd name="T2" fmla="*/ 283 w 288"/>
                <a:gd name="T3" fmla="*/ 247 h 254"/>
                <a:gd name="T4" fmla="*/ 270 w 288"/>
                <a:gd name="T5" fmla="*/ 254 h 254"/>
                <a:gd name="T6" fmla="*/ 0 w 288"/>
                <a:gd name="T7" fmla="*/ 17 h 254"/>
                <a:gd name="T8" fmla="*/ 0 w 288"/>
                <a:gd name="T9" fmla="*/ 11 h 254"/>
                <a:gd name="T10" fmla="*/ 72 w 288"/>
                <a:gd name="T11" fmla="*/ 0 h 254"/>
                <a:gd name="T12" fmla="*/ 288 w 288"/>
                <a:gd name="T13" fmla="*/ 188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254">
                  <a:moveTo>
                    <a:pt x="288" y="188"/>
                  </a:moveTo>
                  <a:lnTo>
                    <a:pt x="283" y="247"/>
                  </a:lnTo>
                  <a:lnTo>
                    <a:pt x="270" y="254"/>
                  </a:lnTo>
                  <a:lnTo>
                    <a:pt x="0" y="17"/>
                  </a:lnTo>
                  <a:lnTo>
                    <a:pt x="0" y="11"/>
                  </a:lnTo>
                  <a:lnTo>
                    <a:pt x="72" y="0"/>
                  </a:lnTo>
                  <a:lnTo>
                    <a:pt x="288" y="188"/>
                  </a:lnTo>
                  <a:close/>
                </a:path>
              </a:pathLst>
            </a:custGeom>
            <a:solidFill>
              <a:srgbClr val="BC2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7">
              <a:extLst>
                <a:ext uri="{FF2B5EF4-FFF2-40B4-BE49-F238E27FC236}">
                  <a16:creationId xmlns:a16="http://schemas.microsoft.com/office/drawing/2014/main" id="{A8E337B6-0300-4898-9572-53589ACAB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867275"/>
              <a:ext cx="209550" cy="225425"/>
            </a:xfrm>
            <a:custGeom>
              <a:avLst/>
              <a:gdLst>
                <a:gd name="T0" fmla="*/ 17 w 132"/>
                <a:gd name="T1" fmla="*/ 142 h 142"/>
                <a:gd name="T2" fmla="*/ 4 w 132"/>
                <a:gd name="T3" fmla="*/ 135 h 142"/>
                <a:gd name="T4" fmla="*/ 0 w 132"/>
                <a:gd name="T5" fmla="*/ 76 h 142"/>
                <a:gd name="T6" fmla="*/ 86 w 132"/>
                <a:gd name="T7" fmla="*/ 0 h 142"/>
                <a:gd name="T8" fmla="*/ 132 w 132"/>
                <a:gd name="T9" fmla="*/ 41 h 142"/>
                <a:gd name="T10" fmla="*/ 17 w 132"/>
                <a:gd name="T11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42">
                  <a:moveTo>
                    <a:pt x="17" y="142"/>
                  </a:moveTo>
                  <a:lnTo>
                    <a:pt x="4" y="135"/>
                  </a:lnTo>
                  <a:lnTo>
                    <a:pt x="0" y="76"/>
                  </a:lnTo>
                  <a:lnTo>
                    <a:pt x="86" y="0"/>
                  </a:lnTo>
                  <a:lnTo>
                    <a:pt x="132" y="41"/>
                  </a:lnTo>
                  <a:lnTo>
                    <a:pt x="17" y="142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8">
              <a:extLst>
                <a:ext uri="{FF2B5EF4-FFF2-40B4-BE49-F238E27FC236}">
                  <a16:creationId xmlns:a16="http://schemas.microsoft.com/office/drawing/2014/main" id="{C635D8B7-88FC-44C9-84D5-9B6CC5CB7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591050"/>
              <a:ext cx="381000" cy="130175"/>
            </a:xfrm>
            <a:custGeom>
              <a:avLst/>
              <a:gdLst>
                <a:gd name="T0" fmla="*/ 143 w 240"/>
                <a:gd name="T1" fmla="*/ 60 h 82"/>
                <a:gd name="T2" fmla="*/ 3 w 240"/>
                <a:gd name="T3" fmla="*/ 82 h 82"/>
                <a:gd name="T4" fmla="*/ 0 w 240"/>
                <a:gd name="T5" fmla="*/ 79 h 82"/>
                <a:gd name="T6" fmla="*/ 4 w 240"/>
                <a:gd name="T7" fmla="*/ 21 h 82"/>
                <a:gd name="T8" fmla="*/ 139 w 240"/>
                <a:gd name="T9" fmla="*/ 0 h 82"/>
                <a:gd name="T10" fmla="*/ 147 w 240"/>
                <a:gd name="T11" fmla="*/ 0 h 82"/>
                <a:gd name="T12" fmla="*/ 240 w 240"/>
                <a:gd name="T13" fmla="*/ 14 h 82"/>
                <a:gd name="T14" fmla="*/ 240 w 240"/>
                <a:gd name="T15" fmla="*/ 76 h 82"/>
                <a:gd name="T16" fmla="*/ 143 w 240"/>
                <a:gd name="T17" fmla="*/ 6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0" h="82">
                  <a:moveTo>
                    <a:pt x="143" y="60"/>
                  </a:moveTo>
                  <a:lnTo>
                    <a:pt x="3" y="82"/>
                  </a:lnTo>
                  <a:lnTo>
                    <a:pt x="0" y="79"/>
                  </a:lnTo>
                  <a:lnTo>
                    <a:pt x="4" y="21"/>
                  </a:lnTo>
                  <a:lnTo>
                    <a:pt x="139" y="0"/>
                  </a:lnTo>
                  <a:lnTo>
                    <a:pt x="147" y="0"/>
                  </a:lnTo>
                  <a:lnTo>
                    <a:pt x="240" y="14"/>
                  </a:lnTo>
                  <a:lnTo>
                    <a:pt x="240" y="76"/>
                  </a:lnTo>
                  <a:lnTo>
                    <a:pt x="143" y="60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9">
              <a:extLst>
                <a:ext uri="{FF2B5EF4-FFF2-40B4-BE49-F238E27FC236}">
                  <a16:creationId xmlns:a16="http://schemas.microsoft.com/office/drawing/2014/main" id="{A067701C-95D2-463E-8259-6C5EDAD7D21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9450" y="4610100"/>
              <a:ext cx="95250" cy="207962"/>
            </a:xfrm>
            <a:custGeom>
              <a:avLst/>
              <a:gdLst>
                <a:gd name="T0" fmla="*/ 0 w 60"/>
                <a:gd name="T1" fmla="*/ 131 h 131"/>
                <a:gd name="T2" fmla="*/ 0 w 60"/>
                <a:gd name="T3" fmla="*/ 0 h 131"/>
                <a:gd name="T4" fmla="*/ 37 w 60"/>
                <a:gd name="T5" fmla="*/ 6 h 131"/>
                <a:gd name="T6" fmla="*/ 60 w 60"/>
                <a:gd name="T7" fmla="*/ 34 h 131"/>
                <a:gd name="T8" fmla="*/ 60 w 60"/>
                <a:gd name="T9" fmla="*/ 106 h 131"/>
                <a:gd name="T10" fmla="*/ 0 w 60"/>
                <a:gd name="T11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131">
                  <a:moveTo>
                    <a:pt x="0" y="131"/>
                  </a:moveTo>
                  <a:lnTo>
                    <a:pt x="0" y="0"/>
                  </a:lnTo>
                  <a:lnTo>
                    <a:pt x="37" y="6"/>
                  </a:lnTo>
                  <a:lnTo>
                    <a:pt x="60" y="34"/>
                  </a:lnTo>
                  <a:lnTo>
                    <a:pt x="60" y="106"/>
                  </a:lnTo>
                  <a:lnTo>
                    <a:pt x="0" y="131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0">
              <a:extLst>
                <a:ext uri="{FF2B5EF4-FFF2-40B4-BE49-F238E27FC236}">
                  <a16:creationId xmlns:a16="http://schemas.microsoft.com/office/drawing/2014/main" id="{CB4BDD23-6E08-4B43-8E99-90B4673801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5638" y="4606925"/>
              <a:ext cx="23812" cy="100012"/>
            </a:xfrm>
            <a:custGeom>
              <a:avLst/>
              <a:gdLst>
                <a:gd name="T0" fmla="*/ 0 w 15"/>
                <a:gd name="T1" fmla="*/ 61 h 63"/>
                <a:gd name="T2" fmla="*/ 15 w 15"/>
                <a:gd name="T3" fmla="*/ 63 h 63"/>
                <a:gd name="T4" fmla="*/ 15 w 15"/>
                <a:gd name="T5" fmla="*/ 2 h 63"/>
                <a:gd name="T6" fmla="*/ 0 w 15"/>
                <a:gd name="T7" fmla="*/ 0 h 63"/>
                <a:gd name="T8" fmla="*/ 0 w 15"/>
                <a:gd name="T9" fmla="*/ 6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63">
                  <a:moveTo>
                    <a:pt x="0" y="61"/>
                  </a:moveTo>
                  <a:lnTo>
                    <a:pt x="15" y="63"/>
                  </a:lnTo>
                  <a:lnTo>
                    <a:pt x="15" y="2"/>
                  </a:lnTo>
                  <a:lnTo>
                    <a:pt x="0" y="0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1">
              <a:extLst>
                <a:ext uri="{FF2B5EF4-FFF2-40B4-BE49-F238E27FC236}">
                  <a16:creationId xmlns:a16="http://schemas.microsoft.com/office/drawing/2014/main" id="{93B962FF-B078-4017-958A-E41D73D6EC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9088" y="4702175"/>
              <a:ext cx="147637" cy="39687"/>
            </a:xfrm>
            <a:custGeom>
              <a:avLst/>
              <a:gdLst>
                <a:gd name="T0" fmla="*/ 15 w 93"/>
                <a:gd name="T1" fmla="*/ 25 h 25"/>
                <a:gd name="T2" fmla="*/ 93 w 93"/>
                <a:gd name="T3" fmla="*/ 13 h 25"/>
                <a:gd name="T4" fmla="*/ 78 w 93"/>
                <a:gd name="T5" fmla="*/ 0 h 25"/>
                <a:gd name="T6" fmla="*/ 0 w 93"/>
                <a:gd name="T7" fmla="*/ 12 h 25"/>
                <a:gd name="T8" fmla="*/ 15 w 93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25">
                  <a:moveTo>
                    <a:pt x="15" y="25"/>
                  </a:moveTo>
                  <a:lnTo>
                    <a:pt x="93" y="13"/>
                  </a:lnTo>
                  <a:lnTo>
                    <a:pt x="78" y="0"/>
                  </a:lnTo>
                  <a:lnTo>
                    <a:pt x="0" y="12"/>
                  </a:lnTo>
                  <a:lnTo>
                    <a:pt x="15" y="25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2">
              <a:extLst>
                <a:ext uri="{FF2B5EF4-FFF2-40B4-BE49-F238E27FC236}">
                  <a16:creationId xmlns:a16="http://schemas.microsoft.com/office/drawing/2014/main" id="{A92A557F-18C7-4504-A10A-57479239FF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2938" y="5022850"/>
              <a:ext cx="100012" cy="79375"/>
            </a:xfrm>
            <a:custGeom>
              <a:avLst/>
              <a:gdLst>
                <a:gd name="T0" fmla="*/ 63 w 63"/>
                <a:gd name="T1" fmla="*/ 44 h 50"/>
                <a:gd name="T2" fmla="*/ 15 w 63"/>
                <a:gd name="T3" fmla="*/ 0 h 50"/>
                <a:gd name="T4" fmla="*/ 0 w 63"/>
                <a:gd name="T5" fmla="*/ 8 h 50"/>
                <a:gd name="T6" fmla="*/ 49 w 63"/>
                <a:gd name="T7" fmla="*/ 50 h 50"/>
                <a:gd name="T8" fmla="*/ 63 w 63"/>
                <a:gd name="T9" fmla="*/ 4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0">
                  <a:moveTo>
                    <a:pt x="63" y="44"/>
                  </a:moveTo>
                  <a:lnTo>
                    <a:pt x="15" y="0"/>
                  </a:lnTo>
                  <a:lnTo>
                    <a:pt x="0" y="8"/>
                  </a:lnTo>
                  <a:lnTo>
                    <a:pt x="49" y="50"/>
                  </a:lnTo>
                  <a:lnTo>
                    <a:pt x="63" y="44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3">
              <a:extLst>
                <a:ext uri="{FF2B5EF4-FFF2-40B4-BE49-F238E27FC236}">
                  <a16:creationId xmlns:a16="http://schemas.microsoft.com/office/drawing/2014/main" id="{5A9AD15B-71B8-4B0A-8CA2-516C36D7A83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1313" y="5022850"/>
              <a:ext cx="100012" cy="79375"/>
            </a:xfrm>
            <a:custGeom>
              <a:avLst/>
              <a:gdLst>
                <a:gd name="T0" fmla="*/ 0 w 63"/>
                <a:gd name="T1" fmla="*/ 44 h 50"/>
                <a:gd name="T2" fmla="*/ 14 w 63"/>
                <a:gd name="T3" fmla="*/ 50 h 50"/>
                <a:gd name="T4" fmla="*/ 63 w 63"/>
                <a:gd name="T5" fmla="*/ 8 h 50"/>
                <a:gd name="T6" fmla="*/ 48 w 63"/>
                <a:gd name="T7" fmla="*/ 0 h 50"/>
                <a:gd name="T8" fmla="*/ 0 w 63"/>
                <a:gd name="T9" fmla="*/ 4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0">
                  <a:moveTo>
                    <a:pt x="0" y="44"/>
                  </a:moveTo>
                  <a:lnTo>
                    <a:pt x="14" y="50"/>
                  </a:lnTo>
                  <a:lnTo>
                    <a:pt x="63" y="8"/>
                  </a:lnTo>
                  <a:lnTo>
                    <a:pt x="48" y="0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40930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3" r:id="rId1"/>
    <p:sldLayoutId id="2147484486" r:id="rId2"/>
    <p:sldLayoutId id="2147484487" r:id="rId3"/>
    <p:sldLayoutId id="2147484488" r:id="rId4"/>
    <p:sldLayoutId id="2147484489" r:id="rId5"/>
    <p:sldLayoutId id="2147484490" r:id="rId6"/>
    <p:sldLayoutId id="2147484491" r:id="rId7"/>
    <p:sldLayoutId id="2147484492" r:id="rId8"/>
    <p:sldLayoutId id="2147484495" r:id="rId9"/>
    <p:sldLayoutId id="2147484496" r:id="rId10"/>
    <p:sldLayoutId id="2147484498" r:id="rId11"/>
    <p:sldLayoutId id="2147484499" r:id="rId12"/>
    <p:sldLayoutId id="2147484500" r:id="rId13"/>
    <p:sldLayoutId id="2147484501" r:id="rId14"/>
    <p:sldLayoutId id="2147484502" r:id="rId15"/>
    <p:sldLayoutId id="2147484503" r:id="rId16"/>
    <p:sldLayoutId id="2147484504" r:id="rId17"/>
    <p:sldLayoutId id="2147484505" r:id="rId18"/>
    <p:sldLayoutId id="2147484506" r:id="rId19"/>
    <p:sldLayoutId id="2147484507" r:id="rId20"/>
    <p:sldLayoutId id="2147484511" r:id="rId21"/>
    <p:sldLayoutId id="2147484512" r:id="rId22"/>
    <p:sldLayoutId id="2147484513" r:id="rId23"/>
    <p:sldLayoutId id="2147484514" r:id="rId24"/>
    <p:sldLayoutId id="2147484518" r:id="rId25"/>
    <p:sldLayoutId id="2147484516" r:id="rId26"/>
    <p:sldLayoutId id="2147484517" r:id="rId2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all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 3" panose="05040102010807070707" pitchFamily="18" charset="2"/>
        <a:buChar char="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 3" panose="05040102010807070707" pitchFamily="18" charset="2"/>
        <a:buChar char="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756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 3" panose="05040102010807070707" pitchFamily="18" charset="2"/>
        <a:buChar char="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008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 3" panose="05040102010807070707" pitchFamily="18" charset="2"/>
        <a:buChar char="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260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 3" panose="05040102010807070707" pitchFamily="18" charset="2"/>
        <a:buChar char="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3" orient="horz" pos="2160">
          <p15:clr>
            <a:srgbClr val="F26B43"/>
          </p15:clr>
        </p15:guide>
        <p15:guide id="14" pos="3840">
          <p15:clr>
            <a:srgbClr val="F26B43"/>
          </p15:clr>
        </p15:guide>
        <p15:guide id="15" pos="279">
          <p15:clr>
            <a:srgbClr val="F26B43"/>
          </p15:clr>
        </p15:guide>
        <p15:guide id="16" pos="7401">
          <p15:clr>
            <a:srgbClr val="F26B43"/>
          </p15:clr>
        </p15:guide>
        <p15:guide id="17" orient="horz" pos="3974">
          <p15:clr>
            <a:srgbClr val="F26B43"/>
          </p15:clr>
        </p15:guide>
        <p15:guide id="18" orient="horz" pos="84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58302A-5737-FC46-B2B0-4ADED82C51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4559300"/>
            <a:ext cx="7795076" cy="481467"/>
          </a:xfrm>
        </p:spPr>
        <p:txBody>
          <a:bodyPr/>
          <a:lstStyle/>
          <a:p>
            <a:r>
              <a:rPr lang="fr-FR" dirty="0" err="1"/>
              <a:t>Responsibility</a:t>
            </a:r>
            <a:r>
              <a:rPr lang="fr-FR" dirty="0"/>
              <a:t> Activity (WP 2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EF2EF4-00D5-9D43-A246-1014B6F5C39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 err="1"/>
              <a:t>Led</a:t>
            </a:r>
            <a:r>
              <a:rPr lang="fr-FR" dirty="0"/>
              <a:t> by Fraunhofer ISI</a:t>
            </a:r>
          </a:p>
          <a:p>
            <a:r>
              <a:rPr lang="fr-FR" dirty="0" err="1"/>
              <a:t>Presented</a:t>
            </a:r>
            <a:r>
              <a:rPr lang="fr-FR" dirty="0"/>
              <a:t> by Michael </a:t>
            </a:r>
            <a:r>
              <a:rPr lang="fr-FR" dirty="0" err="1"/>
              <a:t>Friedewald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507328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E93801-412A-484C-BE27-082ED3F8B3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ticipants and ROLES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0AB105-76B6-6246-AC79-C6D287BBDD6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fr-FR" b="1" dirty="0" err="1"/>
              <a:t>Core</a:t>
            </a:r>
            <a:r>
              <a:rPr lang="fr-FR" b="1" dirty="0"/>
              <a:t> </a:t>
            </a:r>
            <a:r>
              <a:rPr lang="fr-FR" b="1" dirty="0" err="1"/>
              <a:t>Partners</a:t>
            </a:r>
            <a:endParaRPr lang="fr-FR" b="1" dirty="0"/>
          </a:p>
          <a:p>
            <a:r>
              <a:rPr lang="fr-FR" b="1" dirty="0"/>
              <a:t>5 </a:t>
            </a:r>
            <a:r>
              <a:rPr lang="fr-FR" b="1" dirty="0" err="1"/>
              <a:t>UNamur</a:t>
            </a:r>
            <a:r>
              <a:rPr lang="fr-FR" dirty="0"/>
              <a:t> </a:t>
            </a:r>
            <a:r>
              <a:rPr lang="fr-FR" dirty="0" err="1"/>
              <a:t>University</a:t>
            </a:r>
            <a:r>
              <a:rPr lang="fr-FR" dirty="0"/>
              <a:t> of Namur, </a:t>
            </a:r>
            <a:r>
              <a:rPr lang="fr-FR" dirty="0" err="1"/>
              <a:t>Research</a:t>
            </a:r>
            <a:r>
              <a:rPr lang="fr-FR" dirty="0"/>
              <a:t> Centre in Information, Law and Society, BE</a:t>
            </a:r>
          </a:p>
          <a:p>
            <a:pPr lvl="1"/>
            <a:r>
              <a:rPr lang="fr-FR" dirty="0" err="1"/>
              <a:t>Legal</a:t>
            </a:r>
            <a:r>
              <a:rPr lang="fr-FR" dirty="0"/>
              <a:t> expertise, </a:t>
            </a:r>
            <a:r>
              <a:rPr lang="fr-FR" dirty="0" err="1"/>
              <a:t>Task</a:t>
            </a:r>
            <a:r>
              <a:rPr lang="fr-FR" dirty="0"/>
              <a:t> lead 2.1</a:t>
            </a:r>
          </a:p>
          <a:p>
            <a:r>
              <a:rPr lang="fr-FR" b="1" dirty="0"/>
              <a:t>10 Fraunhofer</a:t>
            </a:r>
            <a:r>
              <a:rPr lang="fr-FR" dirty="0"/>
              <a:t> Institute for </a:t>
            </a:r>
            <a:r>
              <a:rPr lang="fr-FR" dirty="0" err="1"/>
              <a:t>Systems</a:t>
            </a:r>
            <a:r>
              <a:rPr lang="fr-FR" dirty="0"/>
              <a:t> and Innovation </a:t>
            </a:r>
            <a:r>
              <a:rPr lang="fr-FR" dirty="0" err="1"/>
              <a:t>Research</a:t>
            </a:r>
            <a:r>
              <a:rPr lang="fr-FR" dirty="0"/>
              <a:t>, Karlsruhe, DE</a:t>
            </a:r>
          </a:p>
          <a:p>
            <a:pPr lvl="1"/>
            <a:r>
              <a:rPr lang="fr-FR" dirty="0"/>
              <a:t>Social science (and </a:t>
            </a:r>
            <a:r>
              <a:rPr lang="fr-FR" dirty="0" err="1"/>
              <a:t>ethics</a:t>
            </a:r>
            <a:r>
              <a:rPr lang="fr-FR" dirty="0"/>
              <a:t>) expertise, WP 2 Lead, </a:t>
            </a:r>
            <a:r>
              <a:rPr lang="fr-FR" dirty="0" err="1"/>
              <a:t>Task</a:t>
            </a:r>
            <a:r>
              <a:rPr lang="fr-FR" dirty="0"/>
              <a:t> Lead 2.3, 2.4</a:t>
            </a:r>
          </a:p>
          <a:p>
            <a:r>
              <a:rPr lang="fr-FR" b="1" dirty="0"/>
              <a:t>35 MRU</a:t>
            </a:r>
            <a:r>
              <a:rPr lang="fr-FR" dirty="0"/>
              <a:t> </a:t>
            </a:r>
            <a:r>
              <a:rPr lang="fr-FR" dirty="0" err="1"/>
              <a:t>Mykolas</a:t>
            </a:r>
            <a:r>
              <a:rPr lang="fr-FR" dirty="0"/>
              <a:t> </a:t>
            </a:r>
            <a:r>
              <a:rPr lang="fr-FR" dirty="0" err="1"/>
              <a:t>Romeris</a:t>
            </a:r>
            <a:r>
              <a:rPr lang="fr-FR" dirty="0"/>
              <a:t> </a:t>
            </a:r>
            <a:r>
              <a:rPr lang="fr-FR" dirty="0" err="1"/>
              <a:t>University</a:t>
            </a:r>
            <a:r>
              <a:rPr lang="fr-FR" dirty="0"/>
              <a:t>, Institute of Int. and EU Law, Vilnius, LT</a:t>
            </a:r>
          </a:p>
          <a:p>
            <a:pPr lvl="1"/>
            <a:r>
              <a:rPr lang="fr-FR" dirty="0" err="1"/>
              <a:t>Legal</a:t>
            </a:r>
            <a:r>
              <a:rPr lang="fr-FR" dirty="0"/>
              <a:t> expertise, </a:t>
            </a:r>
            <a:r>
              <a:rPr lang="fr-FR" dirty="0" err="1"/>
              <a:t>Task</a:t>
            </a:r>
            <a:r>
              <a:rPr lang="fr-FR" dirty="0"/>
              <a:t> lead 2.2</a:t>
            </a:r>
          </a:p>
          <a:p>
            <a:r>
              <a:rPr lang="fr-FR" b="1" dirty="0"/>
              <a:t>43 INOV</a:t>
            </a:r>
            <a:r>
              <a:rPr lang="fr-FR" dirty="0"/>
              <a:t> </a:t>
            </a:r>
            <a:r>
              <a:rPr lang="fr-FR" dirty="0" err="1"/>
              <a:t>Inesc</a:t>
            </a:r>
            <a:r>
              <a:rPr lang="fr-FR" dirty="0"/>
              <a:t> </a:t>
            </a:r>
            <a:r>
              <a:rPr lang="fr-FR" dirty="0" err="1"/>
              <a:t>Inovação</a:t>
            </a:r>
            <a:r>
              <a:rPr lang="fr-FR" dirty="0"/>
              <a:t> - </a:t>
            </a:r>
            <a:r>
              <a:rPr lang="fr-FR" dirty="0" err="1"/>
              <a:t>Instituto</a:t>
            </a:r>
            <a:r>
              <a:rPr lang="fr-FR" dirty="0"/>
              <a:t> De Novas </a:t>
            </a:r>
            <a:r>
              <a:rPr lang="fr-FR" dirty="0" err="1"/>
              <a:t>Tecnologias</a:t>
            </a:r>
            <a:r>
              <a:rPr lang="fr-FR" dirty="0"/>
              <a:t>, </a:t>
            </a:r>
            <a:r>
              <a:rPr lang="fr-FR" dirty="0" err="1"/>
              <a:t>Lisbon</a:t>
            </a:r>
            <a:r>
              <a:rPr lang="fr-FR" dirty="0"/>
              <a:t>, PT</a:t>
            </a:r>
          </a:p>
          <a:p>
            <a:pPr lvl="1"/>
            <a:r>
              <a:rPr lang="fr-FR" dirty="0" err="1"/>
              <a:t>Diversity</a:t>
            </a:r>
            <a:r>
              <a:rPr lang="fr-FR" dirty="0"/>
              <a:t>, </a:t>
            </a:r>
            <a:r>
              <a:rPr lang="fr-FR" dirty="0" err="1"/>
              <a:t>auditing</a:t>
            </a:r>
            <a:r>
              <a:rPr lang="fr-FR" dirty="0"/>
              <a:t> expertise, </a:t>
            </a:r>
            <a:r>
              <a:rPr lang="fr-FR" dirty="0" err="1"/>
              <a:t>Task</a:t>
            </a:r>
            <a:r>
              <a:rPr lang="fr-FR" dirty="0"/>
              <a:t> lead 2.5, Interface to WP 12</a:t>
            </a:r>
          </a:p>
          <a:p>
            <a:endParaRPr lang="fr-FR" dirty="0"/>
          </a:p>
          <a:p>
            <a:endParaRPr lang="fr-FR" dirty="0"/>
          </a:p>
          <a:p>
            <a:pPr marL="0" indent="0">
              <a:buNone/>
            </a:pPr>
            <a:r>
              <a:rPr lang="fr-FR" b="1" dirty="0"/>
              <a:t>Interface </a:t>
            </a:r>
            <a:r>
              <a:rPr lang="fr-FR" b="1" dirty="0" err="1"/>
              <a:t>Partners</a:t>
            </a:r>
            <a:endParaRPr lang="fr-FR" b="1" dirty="0"/>
          </a:p>
          <a:p>
            <a:pPr marL="250825" indent="-250825">
              <a:tabLst>
                <a:tab pos="1422400" algn="l"/>
                <a:tab pos="5197475" algn="l"/>
              </a:tabLst>
            </a:pPr>
            <a:r>
              <a:rPr lang="fr-FR" b="1" dirty="0"/>
              <a:t>1 CEA	</a:t>
            </a:r>
            <a:r>
              <a:rPr lang="fr-FR" dirty="0"/>
              <a:t>Interface to WP 1	</a:t>
            </a:r>
            <a:r>
              <a:rPr lang="fr-FR" dirty="0">
                <a:solidFill>
                  <a:schemeClr val="accent1"/>
                </a:solidFill>
              </a:rPr>
              <a:t>▶︎</a:t>
            </a:r>
            <a:r>
              <a:rPr lang="fr-FR" dirty="0"/>
              <a:t> </a:t>
            </a:r>
            <a:r>
              <a:rPr lang="fr-FR" b="1" dirty="0"/>
              <a:t>33 L3C	</a:t>
            </a:r>
            <a:r>
              <a:rPr lang="fr-FR" dirty="0"/>
              <a:t>Interface to WP 4 / T-SHARK</a:t>
            </a:r>
          </a:p>
          <a:p>
            <a:pPr marL="250825" indent="-250825">
              <a:tabLst>
                <a:tab pos="1422400" algn="l"/>
                <a:tab pos="5197475" algn="l"/>
              </a:tabLst>
            </a:pPr>
            <a:r>
              <a:rPr lang="fr-FR" b="1" dirty="0"/>
              <a:t>12 TUM	</a:t>
            </a:r>
            <a:r>
              <a:rPr lang="fr-FR" dirty="0"/>
              <a:t>Interface to WP 3</a:t>
            </a:r>
            <a:r>
              <a:rPr lang="fr-FR" b="1" dirty="0"/>
              <a:t>	</a:t>
            </a:r>
            <a:r>
              <a:rPr lang="fr-FR" dirty="0">
                <a:solidFill>
                  <a:schemeClr val="accent1"/>
                </a:solidFill>
              </a:rPr>
              <a:t>▶︎ </a:t>
            </a:r>
            <a:r>
              <a:rPr lang="fr-FR" b="1" dirty="0"/>
              <a:t>23 IMT	</a:t>
            </a:r>
            <a:r>
              <a:rPr lang="fr-FR" dirty="0"/>
              <a:t>Interface to WP 5 / CAPE</a:t>
            </a:r>
          </a:p>
          <a:p>
            <a:pPr marL="250825" indent="-250825">
              <a:tabLst>
                <a:tab pos="1422400" algn="l"/>
                <a:tab pos="5197475" algn="l"/>
              </a:tabLst>
            </a:pPr>
            <a:r>
              <a:rPr lang="fr-FR" b="1" dirty="0"/>
              <a:t>29 CNR	</a:t>
            </a:r>
            <a:r>
              <a:rPr lang="fr-FR" dirty="0"/>
              <a:t>Interface to WP 8 </a:t>
            </a:r>
            <a:r>
              <a:rPr lang="fr-FR" b="1" dirty="0"/>
              <a:t>	</a:t>
            </a:r>
            <a:r>
              <a:rPr lang="fr-FR" dirty="0">
                <a:solidFill>
                  <a:schemeClr val="accent1"/>
                </a:solidFill>
              </a:rPr>
              <a:t>▶︎ </a:t>
            </a:r>
            <a:r>
              <a:rPr lang="fr-FR" b="1" dirty="0"/>
              <a:t>27 CINI	</a:t>
            </a:r>
            <a:r>
              <a:rPr lang="fr-FR" dirty="0"/>
              <a:t>Interface to WP 6 / HAII-T</a:t>
            </a:r>
          </a:p>
          <a:p>
            <a:pPr marL="250825" indent="-250825">
              <a:tabLst>
                <a:tab pos="1422400" algn="l"/>
                <a:tab pos="5197475" algn="l"/>
              </a:tabLst>
            </a:pPr>
            <a:r>
              <a:rPr lang="fr-FR" b="1" dirty="0"/>
              <a:t>7 BUT	</a:t>
            </a:r>
            <a:r>
              <a:rPr lang="fr-FR" dirty="0"/>
              <a:t>Interface to WP 9</a:t>
            </a:r>
            <a:r>
              <a:rPr lang="fr-FR" b="1" dirty="0"/>
              <a:t>	</a:t>
            </a:r>
            <a:r>
              <a:rPr lang="fr-FR" dirty="0">
                <a:solidFill>
                  <a:schemeClr val="accent1"/>
                </a:solidFill>
              </a:rPr>
              <a:t>▶︎ </a:t>
            </a:r>
            <a:r>
              <a:rPr lang="fr-FR" b="1" dirty="0"/>
              <a:t>40 ITTI	</a:t>
            </a:r>
            <a:r>
              <a:rPr lang="fr-FR" dirty="0"/>
              <a:t>Interface to WP 7 / SAFAIR</a:t>
            </a:r>
          </a:p>
          <a:p>
            <a:pPr marL="250825" indent="-250825">
              <a:tabLst>
                <a:tab pos="1422400" algn="l"/>
                <a:tab pos="5197475" algn="l"/>
              </a:tabLst>
            </a:pPr>
            <a:r>
              <a:rPr lang="fr-FR" b="1" dirty="0"/>
              <a:t>37 SMILE	</a:t>
            </a:r>
            <a:r>
              <a:rPr lang="fr-FR" dirty="0"/>
              <a:t>Interface to WP 10</a:t>
            </a:r>
          </a:p>
          <a:p>
            <a:pPr marL="250825" indent="-250825">
              <a:tabLst>
                <a:tab pos="1422400" algn="l"/>
                <a:tab pos="5197475" algn="l"/>
              </a:tabLst>
            </a:pPr>
            <a:r>
              <a:rPr lang="fr-FR" b="1" dirty="0"/>
              <a:t>4 CETIC	</a:t>
            </a:r>
            <a:r>
              <a:rPr lang="fr-FR" dirty="0"/>
              <a:t>Interface to WP 11</a:t>
            </a:r>
          </a:p>
          <a:p>
            <a:pPr marL="250825" indent="-250825">
              <a:tabLst>
                <a:tab pos="1422400" algn="l"/>
                <a:tab pos="5197475" algn="l"/>
              </a:tabLst>
            </a:pPr>
            <a:r>
              <a:rPr lang="fr-FR" b="1" dirty="0"/>
              <a:t>3 TNK	</a:t>
            </a:r>
            <a:r>
              <a:rPr lang="fr-FR" dirty="0"/>
              <a:t>Interface to WP 13</a:t>
            </a:r>
          </a:p>
          <a:p>
            <a:pPr marL="0" indent="0">
              <a:buNone/>
            </a:pPr>
            <a:endParaRPr lang="fr-FR" b="1" dirty="0"/>
          </a:p>
          <a:p>
            <a:endParaRPr lang="fr-FR" dirty="0"/>
          </a:p>
          <a:p>
            <a:endParaRPr lang="fr-FR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081E1D2-8A1E-3F46-91A4-2715CC2B704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1218"/>
          <a:stretch/>
        </p:blipFill>
        <p:spPr>
          <a:xfrm>
            <a:off x="8283168" y="1027906"/>
            <a:ext cx="3865725" cy="3062834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515DF0B1-6A20-9544-BEA9-2D70BA48A19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595" t="30741" r="17596" b="24389"/>
          <a:stretch/>
        </p:blipFill>
        <p:spPr>
          <a:xfrm>
            <a:off x="8480019" y="116768"/>
            <a:ext cx="2027681" cy="785552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6841AF92-0FA4-5A4D-8BD0-8B5B0CEFBA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86250" y="113952"/>
            <a:ext cx="817049" cy="919181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7333B1EB-2E4F-BB4A-B453-84B17BA971A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35835" b="35953"/>
          <a:stretch/>
        </p:blipFill>
        <p:spPr>
          <a:xfrm>
            <a:off x="6127750" y="800716"/>
            <a:ext cx="1333306" cy="376151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041F1430-CDD5-A94E-8F33-C5FA688A172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2909" t="18946" r="12636" b="16804"/>
          <a:stretch/>
        </p:blipFill>
        <p:spPr>
          <a:xfrm>
            <a:off x="10585041" y="113952"/>
            <a:ext cx="1474088" cy="846485"/>
          </a:xfrm>
          <a:prstGeom prst="rect">
            <a:avLst/>
          </a:prstGeom>
        </p:spPr>
      </p:pic>
      <p:cxnSp>
        <p:nvCxnSpPr>
          <p:cNvPr id="9" name="Gerade Verbindung 8">
            <a:extLst>
              <a:ext uri="{FF2B5EF4-FFF2-40B4-BE49-F238E27FC236}">
                <a16:creationId xmlns:a16="http://schemas.microsoft.com/office/drawing/2014/main" id="{B046CC4D-CB74-C84A-B191-29BD21DC5C64}"/>
              </a:ext>
            </a:extLst>
          </p:cNvPr>
          <p:cNvCxnSpPr>
            <a:cxnSpLocks/>
            <a:stCxn id="6" idx="2"/>
          </p:cNvCxnSpPr>
          <p:nvPr/>
        </p:nvCxnSpPr>
        <p:spPr>
          <a:xfrm>
            <a:off x="8094775" y="1033133"/>
            <a:ext cx="1726028" cy="1613814"/>
          </a:xfrm>
          <a:prstGeom prst="line">
            <a:avLst/>
          </a:prstGeom>
          <a:ln w="57150">
            <a:solidFill>
              <a:srgbClr val="FF000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Gerade Verbindung 9">
            <a:extLst>
              <a:ext uri="{FF2B5EF4-FFF2-40B4-BE49-F238E27FC236}">
                <a16:creationId xmlns:a16="http://schemas.microsoft.com/office/drawing/2014/main" id="{F196EEB1-8961-0242-9231-D5C691E91C2A}"/>
              </a:ext>
            </a:extLst>
          </p:cNvPr>
          <p:cNvCxnSpPr>
            <a:cxnSpLocks/>
            <a:stCxn id="7" idx="3"/>
          </p:cNvCxnSpPr>
          <p:nvPr/>
        </p:nvCxnSpPr>
        <p:spPr>
          <a:xfrm>
            <a:off x="7461056" y="988792"/>
            <a:ext cx="1279650" cy="2626475"/>
          </a:xfrm>
          <a:prstGeom prst="line">
            <a:avLst/>
          </a:prstGeom>
          <a:ln w="57150">
            <a:solidFill>
              <a:srgbClr val="FF000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1" name="Gerade Verbindung 10">
            <a:extLst>
              <a:ext uri="{FF2B5EF4-FFF2-40B4-BE49-F238E27FC236}">
                <a16:creationId xmlns:a16="http://schemas.microsoft.com/office/drawing/2014/main" id="{B25EA1F2-FB8C-1848-9BBD-6A4218A0174F}"/>
              </a:ext>
            </a:extLst>
          </p:cNvPr>
          <p:cNvCxnSpPr>
            <a:cxnSpLocks/>
          </p:cNvCxnSpPr>
          <p:nvPr/>
        </p:nvCxnSpPr>
        <p:spPr>
          <a:xfrm>
            <a:off x="9671906" y="637223"/>
            <a:ext cx="326344" cy="2112203"/>
          </a:xfrm>
          <a:prstGeom prst="line">
            <a:avLst/>
          </a:prstGeom>
          <a:ln w="57150">
            <a:solidFill>
              <a:srgbClr val="FF000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69FC6BB3-1415-C64E-A762-7AA1CB096698}"/>
              </a:ext>
            </a:extLst>
          </p:cNvPr>
          <p:cNvCxnSpPr>
            <a:cxnSpLocks/>
            <a:stCxn id="8" idx="2"/>
          </p:cNvCxnSpPr>
          <p:nvPr/>
        </p:nvCxnSpPr>
        <p:spPr>
          <a:xfrm flipH="1">
            <a:off x="10868110" y="960437"/>
            <a:ext cx="453975" cy="1291875"/>
          </a:xfrm>
          <a:prstGeom prst="line">
            <a:avLst/>
          </a:prstGeom>
          <a:ln w="57150">
            <a:solidFill>
              <a:srgbClr val="FF000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39903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E93801-412A-484C-BE27-082ED3F8B3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jectives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7F7342-1272-2F4D-B9E8-7A12685E0290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dirty="0" err="1"/>
              <a:t>Make</a:t>
            </a:r>
            <a:r>
              <a:rPr lang="de-DE" b="1" dirty="0"/>
              <a:t> </a:t>
            </a:r>
            <a:r>
              <a:rPr lang="de-DE" b="1" dirty="0" err="1"/>
              <a:t>sure</a:t>
            </a:r>
            <a:r>
              <a:rPr lang="de-DE" b="1" dirty="0"/>
              <a:t> </a:t>
            </a:r>
            <a:r>
              <a:rPr lang="de-DE" b="1" dirty="0" err="1"/>
              <a:t>that</a:t>
            </a:r>
            <a:r>
              <a:rPr lang="de-DE" b="1" dirty="0"/>
              <a:t> </a:t>
            </a:r>
            <a:r>
              <a:rPr lang="de-DE" b="1" dirty="0" err="1"/>
              <a:t>cybersecurity</a:t>
            </a:r>
            <a:r>
              <a:rPr lang="de-DE" b="1" dirty="0"/>
              <a:t> </a:t>
            </a:r>
            <a:r>
              <a:rPr lang="de-DE" b="1" dirty="0" err="1"/>
              <a:t>innovations</a:t>
            </a:r>
            <a:r>
              <a:rPr lang="de-DE" b="1" dirty="0"/>
              <a:t> </a:t>
            </a:r>
            <a:r>
              <a:rPr lang="de-DE" b="1" dirty="0" err="1"/>
              <a:t>launched</a:t>
            </a:r>
            <a:r>
              <a:rPr lang="de-DE" b="1" dirty="0"/>
              <a:t> </a:t>
            </a:r>
            <a:r>
              <a:rPr lang="de-DE" b="1" dirty="0" err="1"/>
              <a:t>by</a:t>
            </a:r>
            <a:r>
              <a:rPr lang="de-DE" b="1" dirty="0"/>
              <a:t> SPARTA </a:t>
            </a:r>
            <a:r>
              <a:rPr lang="de-DE" b="1" dirty="0" err="1"/>
              <a:t>are</a:t>
            </a:r>
            <a:r>
              <a:rPr lang="de-DE" b="1" dirty="0"/>
              <a:t> </a:t>
            </a:r>
            <a:r>
              <a:rPr lang="de-DE" b="1" dirty="0" err="1"/>
              <a:t>ethically</a:t>
            </a:r>
            <a:r>
              <a:rPr lang="de-DE" b="1" dirty="0"/>
              <a:t> </a:t>
            </a:r>
            <a:r>
              <a:rPr lang="de-DE" b="1" dirty="0" err="1"/>
              <a:t>sound</a:t>
            </a:r>
            <a:r>
              <a:rPr lang="de-DE" b="1" dirty="0"/>
              <a:t>, </a:t>
            </a:r>
            <a:r>
              <a:rPr lang="de-DE" b="1" dirty="0" err="1"/>
              <a:t>socially</a:t>
            </a:r>
            <a:r>
              <a:rPr lang="de-DE" b="1" dirty="0"/>
              <a:t> </a:t>
            </a:r>
            <a:r>
              <a:rPr lang="de-DE" b="1" dirty="0" err="1"/>
              <a:t>acceptable</a:t>
            </a:r>
            <a:r>
              <a:rPr lang="de-DE" b="1" dirty="0"/>
              <a:t> </a:t>
            </a:r>
            <a:r>
              <a:rPr lang="de-DE" b="1" dirty="0" err="1"/>
              <a:t>and</a:t>
            </a:r>
            <a:r>
              <a:rPr lang="de-DE" b="1" dirty="0"/>
              <a:t> </a:t>
            </a:r>
            <a:r>
              <a:rPr lang="de-DE" b="1" dirty="0" err="1"/>
              <a:t>compliant</a:t>
            </a:r>
            <a:r>
              <a:rPr lang="de-DE" b="1" dirty="0"/>
              <a:t> </a:t>
            </a:r>
            <a:r>
              <a:rPr lang="de-DE" b="1" dirty="0" err="1"/>
              <a:t>with</a:t>
            </a:r>
            <a:r>
              <a:rPr lang="de-DE" b="1" dirty="0"/>
              <a:t> </a:t>
            </a:r>
            <a:r>
              <a:rPr lang="de-DE" b="1" dirty="0" err="1"/>
              <a:t>applicable</a:t>
            </a:r>
            <a:r>
              <a:rPr lang="de-DE" b="1" dirty="0"/>
              <a:t> (</a:t>
            </a:r>
            <a:r>
              <a:rPr lang="de-DE" b="1" dirty="0" err="1"/>
              <a:t>data</a:t>
            </a:r>
            <a:r>
              <a:rPr lang="de-DE" b="1" dirty="0"/>
              <a:t> </a:t>
            </a:r>
            <a:r>
              <a:rPr lang="de-DE" b="1" dirty="0" err="1"/>
              <a:t>protection</a:t>
            </a:r>
            <a:r>
              <a:rPr lang="de-DE" b="1" dirty="0"/>
              <a:t>) </a:t>
            </a:r>
            <a:r>
              <a:rPr lang="de-DE" b="1" dirty="0" err="1"/>
              <a:t>laws</a:t>
            </a:r>
            <a:endParaRPr lang="de-DE" b="1" dirty="0"/>
          </a:p>
          <a:p>
            <a:pPr lvl="1"/>
            <a:r>
              <a:rPr lang="de-DE" dirty="0"/>
              <a:t>On </a:t>
            </a:r>
            <a:r>
              <a:rPr lang="de-DE" dirty="0" err="1"/>
              <a:t>line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common</a:t>
            </a:r>
            <a:r>
              <a:rPr lang="de-DE" dirty="0"/>
              <a:t> (</a:t>
            </a:r>
            <a:r>
              <a:rPr lang="de-DE" dirty="0" err="1"/>
              <a:t>public</a:t>
            </a:r>
            <a:r>
              <a:rPr lang="de-DE" dirty="0"/>
              <a:t>) </a:t>
            </a:r>
            <a:r>
              <a:rPr lang="de-DE" dirty="0" err="1"/>
              <a:t>problem</a:t>
            </a:r>
            <a:r>
              <a:rPr lang="de-DE" dirty="0"/>
              <a:t> </a:t>
            </a:r>
            <a:r>
              <a:rPr lang="de-DE" dirty="0" err="1"/>
              <a:t>conception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do not </a:t>
            </a:r>
            <a:r>
              <a:rPr lang="de-DE" dirty="0" err="1"/>
              <a:t>raise</a:t>
            </a:r>
            <a:r>
              <a:rPr lang="de-DE" dirty="0"/>
              <a:t> </a:t>
            </a:r>
            <a:r>
              <a:rPr lang="de-DE" dirty="0" err="1"/>
              <a:t>concerns</a:t>
            </a:r>
            <a:r>
              <a:rPr lang="de-DE" dirty="0"/>
              <a:t> </a:t>
            </a:r>
            <a:r>
              <a:rPr lang="de-DE" dirty="0" err="1"/>
              <a:t>among</a:t>
            </a:r>
            <a:r>
              <a:rPr lang="de-DE" dirty="0"/>
              <a:t> </a:t>
            </a:r>
            <a:r>
              <a:rPr lang="de-DE" dirty="0" err="1"/>
              <a:t>citizens</a:t>
            </a:r>
            <a:endParaRPr lang="de-DE" dirty="0"/>
          </a:p>
          <a:p>
            <a:pPr lvl="1"/>
            <a:r>
              <a:rPr lang="de-DE" dirty="0" err="1"/>
              <a:t>Proportionate</a:t>
            </a:r>
            <a:r>
              <a:rPr lang="de-DE" dirty="0"/>
              <a:t>, transparent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ensuring</a:t>
            </a:r>
            <a:r>
              <a:rPr lang="de-DE" dirty="0"/>
              <a:t> </a:t>
            </a:r>
            <a:r>
              <a:rPr lang="de-DE" dirty="0" err="1"/>
              <a:t>security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confidentiality</a:t>
            </a:r>
            <a:endParaRPr lang="de-DE" dirty="0"/>
          </a:p>
          <a:p>
            <a:pPr lvl="1"/>
            <a:r>
              <a:rPr lang="de-DE" dirty="0" err="1"/>
              <a:t>Reconciled</a:t>
            </a:r>
            <a:r>
              <a:rPr lang="de-DE" dirty="0"/>
              <a:t> (</a:t>
            </a:r>
            <a:r>
              <a:rPr lang="de-DE" dirty="0" err="1"/>
              <a:t>balanced</a:t>
            </a:r>
            <a:r>
              <a:rPr lang="de-DE" dirty="0"/>
              <a:t>)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other</a:t>
            </a:r>
            <a:r>
              <a:rPr lang="de-DE" dirty="0"/>
              <a:t> </a:t>
            </a:r>
            <a:r>
              <a:rPr lang="de-DE" dirty="0" err="1"/>
              <a:t>values</a:t>
            </a:r>
            <a:r>
              <a:rPr lang="de-DE" dirty="0"/>
              <a:t>, </a:t>
            </a:r>
            <a:r>
              <a:rPr lang="de-DE" dirty="0" err="1"/>
              <a:t>interests</a:t>
            </a:r>
            <a:r>
              <a:rPr lang="de-DE" dirty="0"/>
              <a:t>, </a:t>
            </a:r>
            <a:r>
              <a:rPr lang="de-DE" dirty="0" err="1"/>
              <a:t>right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freedoms</a:t>
            </a:r>
            <a:endParaRPr lang="de-DE" dirty="0"/>
          </a:p>
          <a:p>
            <a:pPr lvl="1"/>
            <a:endParaRPr lang="de-DE" dirty="0"/>
          </a:p>
          <a:p>
            <a:r>
              <a:rPr lang="de-DE" b="1" dirty="0">
                <a:solidFill>
                  <a:srgbClr val="000000"/>
                </a:solidFill>
              </a:rPr>
              <a:t>ELSA </a:t>
            </a:r>
            <a:r>
              <a:rPr lang="de-DE" b="1" dirty="0" err="1">
                <a:solidFill>
                  <a:srgbClr val="000000"/>
                </a:solidFill>
              </a:rPr>
              <a:t>auditing</a:t>
            </a:r>
            <a:r>
              <a:rPr lang="de-DE" b="1" dirty="0">
                <a:solidFill>
                  <a:srgbClr val="000000"/>
                </a:solidFill>
              </a:rPr>
              <a:t> </a:t>
            </a:r>
            <a:r>
              <a:rPr lang="de-DE" b="1" dirty="0" err="1">
                <a:solidFill>
                  <a:srgbClr val="000000"/>
                </a:solidFill>
              </a:rPr>
              <a:t>and</a:t>
            </a:r>
            <a:r>
              <a:rPr lang="de-DE" b="1" dirty="0">
                <a:solidFill>
                  <a:srgbClr val="000000"/>
                </a:solidFill>
              </a:rPr>
              <a:t> </a:t>
            </a:r>
            <a:r>
              <a:rPr lang="de-DE" b="1" dirty="0" err="1">
                <a:solidFill>
                  <a:srgbClr val="000000"/>
                </a:solidFill>
              </a:rPr>
              <a:t>supervision</a:t>
            </a:r>
            <a:r>
              <a:rPr lang="de-DE" b="1" dirty="0">
                <a:solidFill>
                  <a:srgbClr val="000000"/>
                </a:solidFill>
              </a:rPr>
              <a:t> </a:t>
            </a:r>
          </a:p>
          <a:p>
            <a:pPr lvl="1"/>
            <a:r>
              <a:rPr lang="de-DE" dirty="0" err="1">
                <a:solidFill>
                  <a:srgbClr val="000000"/>
                </a:solidFill>
              </a:rPr>
              <a:t>have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programs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taken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into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account</a:t>
            </a:r>
            <a:r>
              <a:rPr lang="de-DE" dirty="0">
                <a:solidFill>
                  <a:srgbClr val="000000"/>
                </a:solidFill>
              </a:rPr>
              <a:t> ELSA </a:t>
            </a:r>
            <a:r>
              <a:rPr lang="de-DE" dirty="0" err="1">
                <a:solidFill>
                  <a:srgbClr val="000000"/>
                </a:solidFill>
              </a:rPr>
              <a:t>that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have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been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raised</a:t>
            </a:r>
            <a:r>
              <a:rPr lang="de-DE" dirty="0">
                <a:solidFill>
                  <a:srgbClr val="000000"/>
                </a:solidFill>
              </a:rPr>
              <a:t>? </a:t>
            </a:r>
            <a:r>
              <a:rPr lang="de-DE" dirty="0" err="1">
                <a:solidFill>
                  <a:srgbClr val="000000"/>
                </a:solidFill>
              </a:rPr>
              <a:t>Justification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for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specific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solutions</a:t>
            </a:r>
            <a:r>
              <a:rPr lang="de-DE" dirty="0">
                <a:solidFill>
                  <a:srgbClr val="000000"/>
                </a:solidFill>
              </a:rPr>
              <a:t>.</a:t>
            </a:r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613498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E93801-412A-484C-BE27-082ED3F8B3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sks</a:t>
            </a:r>
            <a:endParaRPr lang="en-US" dirty="0">
              <a:solidFill>
                <a:schemeClr val="accent1"/>
              </a:solidFill>
            </a:endParaRP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53368812-1430-F345-876B-62E27FD5D86D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1943806751"/>
              </p:ext>
            </p:extLst>
          </p:nvPr>
        </p:nvGraphicFramePr>
        <p:xfrm>
          <a:off x="442913" y="1343025"/>
          <a:ext cx="10367960" cy="4119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9287">
                  <a:extLst>
                    <a:ext uri="{9D8B030D-6E8A-4147-A177-3AD203B41FA5}">
                      <a16:colId xmlns:a16="http://schemas.microsoft.com/office/drawing/2014/main" val="3070882286"/>
                    </a:ext>
                  </a:extLst>
                </a:gridCol>
                <a:gridCol w="3699933">
                  <a:extLst>
                    <a:ext uri="{9D8B030D-6E8A-4147-A177-3AD203B41FA5}">
                      <a16:colId xmlns:a16="http://schemas.microsoft.com/office/drawing/2014/main" val="1424732837"/>
                    </a:ext>
                  </a:extLst>
                </a:gridCol>
                <a:gridCol w="1684867">
                  <a:extLst>
                    <a:ext uri="{9D8B030D-6E8A-4147-A177-3AD203B41FA5}">
                      <a16:colId xmlns:a16="http://schemas.microsoft.com/office/drawing/2014/main" val="1845916951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522750547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584664370"/>
                    </a:ext>
                  </a:extLst>
                </a:gridCol>
                <a:gridCol w="2657473">
                  <a:extLst>
                    <a:ext uri="{9D8B030D-6E8A-4147-A177-3AD203B41FA5}">
                      <a16:colId xmlns:a16="http://schemas.microsoft.com/office/drawing/2014/main" val="107300974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#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err="1"/>
                        <a:t>Title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Le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err="1"/>
                        <a:t>Starts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En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err="1"/>
                        <a:t>Deviations</a:t>
                      </a:r>
                      <a:r>
                        <a:rPr lang="fr-FR" dirty="0"/>
                        <a:t> / </a:t>
                      </a:r>
                      <a:r>
                        <a:rPr lang="fr-FR" dirty="0" err="1"/>
                        <a:t>Measures</a:t>
                      </a:r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212400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fr-FR" dirty="0"/>
                        <a:t>T2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/>
                        <a:t>Identification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of</a:t>
                      </a:r>
                      <a:r>
                        <a:rPr lang="de-DE" dirty="0"/>
                        <a:t> relevant </a:t>
                      </a:r>
                      <a:r>
                        <a:rPr lang="de-DE" dirty="0" err="1"/>
                        <a:t>ethical</a:t>
                      </a:r>
                      <a:r>
                        <a:rPr lang="de-DE" dirty="0"/>
                        <a:t>, legal </a:t>
                      </a:r>
                      <a:r>
                        <a:rPr lang="de-DE" dirty="0" err="1"/>
                        <a:t>and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societal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aspects</a:t>
                      </a:r>
                      <a:r>
                        <a:rPr lang="de-DE" dirty="0"/>
                        <a:t> 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5 </a:t>
                      </a:r>
                      <a:r>
                        <a:rPr lang="fr-FR" dirty="0" err="1"/>
                        <a:t>UNamur</a:t>
                      </a:r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M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M1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dirty="0" err="1"/>
                        <a:t>Ongoing</a:t>
                      </a:r>
                      <a:r>
                        <a:rPr lang="fr-FR" dirty="0"/>
                        <a:t>, no </a:t>
                      </a:r>
                      <a:r>
                        <a:rPr lang="fr-FR" dirty="0" err="1"/>
                        <a:t>deviations</a:t>
                      </a:r>
                      <a:endParaRPr lang="fr-FR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865634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fr-FR" dirty="0"/>
                        <a:t>T2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/>
                        <a:t>Investigation </a:t>
                      </a:r>
                      <a:r>
                        <a:rPr lang="de-DE" dirty="0" err="1"/>
                        <a:t>of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key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challenges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and</a:t>
                      </a:r>
                      <a:r>
                        <a:rPr lang="de-DE" dirty="0"/>
                        <a:t> promising </a:t>
                      </a:r>
                      <a:r>
                        <a:rPr lang="de-DE" dirty="0" err="1"/>
                        <a:t>solution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approaches</a:t>
                      </a:r>
                      <a:r>
                        <a:rPr lang="de-DE" dirty="0"/>
                        <a:t> 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35 MRU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M1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M2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dirty="0"/>
                        <a:t>Not </a:t>
                      </a:r>
                      <a:r>
                        <a:rPr lang="fr-FR" dirty="0" err="1"/>
                        <a:t>started</a:t>
                      </a:r>
                      <a:endParaRPr lang="fr-FR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778061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fr-FR" dirty="0"/>
                        <a:t>T2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/>
                        <a:t>Formulation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of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general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guidelines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for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responsible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cybersecurity</a:t>
                      </a:r>
                      <a:r>
                        <a:rPr lang="de-DE" dirty="0"/>
                        <a:t> 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0 Fraunhof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M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M3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dirty="0"/>
                        <a:t>Just </a:t>
                      </a:r>
                      <a:r>
                        <a:rPr lang="fr-FR" dirty="0" err="1"/>
                        <a:t>started</a:t>
                      </a:r>
                      <a:endParaRPr lang="fr-FR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0370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fr-FR" dirty="0"/>
                        <a:t>T2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/>
                        <a:t>Conversion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of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approaches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into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concrete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solutions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with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the</a:t>
                      </a:r>
                      <a:r>
                        <a:rPr lang="de-DE" dirty="0"/>
                        <a:t> SPARTA </a:t>
                      </a:r>
                      <a:r>
                        <a:rPr lang="de-DE" dirty="0" err="1"/>
                        <a:t>Programs</a:t>
                      </a:r>
                      <a:r>
                        <a:rPr lang="de-DE" dirty="0"/>
                        <a:t> 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0 Fraunhof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M1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M3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dirty="0"/>
                        <a:t>Not </a:t>
                      </a:r>
                      <a:r>
                        <a:rPr lang="fr-FR" dirty="0" err="1"/>
                        <a:t>started</a:t>
                      </a:r>
                      <a:endParaRPr lang="fr-FR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815897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fr-FR" dirty="0"/>
                        <a:t>T2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/>
                        <a:t>Internal ELSA </a:t>
                      </a:r>
                      <a:r>
                        <a:rPr lang="de-DE" dirty="0" err="1"/>
                        <a:t>auditing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and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supervision</a:t>
                      </a:r>
                      <a:r>
                        <a:rPr lang="de-DE" dirty="0"/>
                        <a:t> 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43 INOV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M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M3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 err="1"/>
                        <a:t>Ongoing</a:t>
                      </a:r>
                      <a:r>
                        <a:rPr lang="fr-FR" dirty="0"/>
                        <a:t>, no </a:t>
                      </a:r>
                      <a:r>
                        <a:rPr lang="fr-FR" dirty="0" err="1"/>
                        <a:t>deviations</a:t>
                      </a:r>
                      <a:r>
                        <a:rPr lang="fr-FR" dirty="0"/>
                        <a:t> </a:t>
                      </a:r>
                    </a:p>
                    <a:p>
                      <a:pPr algn="l"/>
                      <a:endParaRPr lang="fr-FR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923561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413528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E93801-412A-484C-BE27-082ED3F8B3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343060"/>
            <a:ext cx="10367999" cy="792000"/>
          </a:xfrm>
        </p:spPr>
        <p:txBody>
          <a:bodyPr/>
          <a:lstStyle/>
          <a:p>
            <a:r>
              <a:rPr lang="en-US" dirty="0"/>
              <a:t>Deliverables</a:t>
            </a:r>
            <a:endParaRPr lang="en-US" dirty="0">
              <a:solidFill>
                <a:schemeClr val="accent1"/>
              </a:solidFill>
            </a:endParaRP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53368812-1430-F345-876B-62E27FD5D86D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3504302697"/>
              </p:ext>
            </p:extLst>
          </p:nvPr>
        </p:nvGraphicFramePr>
        <p:xfrm>
          <a:off x="442913" y="1343025"/>
          <a:ext cx="10367960" cy="5120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4516">
                  <a:extLst>
                    <a:ext uri="{9D8B030D-6E8A-4147-A177-3AD203B41FA5}">
                      <a16:colId xmlns:a16="http://schemas.microsoft.com/office/drawing/2014/main" val="3070882286"/>
                    </a:ext>
                  </a:extLst>
                </a:gridCol>
                <a:gridCol w="4136571">
                  <a:extLst>
                    <a:ext uri="{9D8B030D-6E8A-4147-A177-3AD203B41FA5}">
                      <a16:colId xmlns:a16="http://schemas.microsoft.com/office/drawing/2014/main" val="1424732837"/>
                    </a:ext>
                  </a:extLst>
                </a:gridCol>
                <a:gridCol w="1667933">
                  <a:extLst>
                    <a:ext uri="{9D8B030D-6E8A-4147-A177-3AD203B41FA5}">
                      <a16:colId xmlns:a16="http://schemas.microsoft.com/office/drawing/2014/main" val="1845916951"/>
                    </a:ext>
                  </a:extLst>
                </a:gridCol>
                <a:gridCol w="1329267">
                  <a:extLst>
                    <a:ext uri="{9D8B030D-6E8A-4147-A177-3AD203B41FA5}">
                      <a16:colId xmlns:a16="http://schemas.microsoft.com/office/drawing/2014/main" val="522750547"/>
                    </a:ext>
                  </a:extLst>
                </a:gridCol>
                <a:gridCol w="905933">
                  <a:extLst>
                    <a:ext uri="{9D8B030D-6E8A-4147-A177-3AD203B41FA5}">
                      <a16:colId xmlns:a16="http://schemas.microsoft.com/office/drawing/2014/main" val="584664370"/>
                    </a:ext>
                  </a:extLst>
                </a:gridCol>
                <a:gridCol w="1573740">
                  <a:extLst>
                    <a:ext uri="{9D8B030D-6E8A-4147-A177-3AD203B41FA5}">
                      <a16:colId xmlns:a16="http://schemas.microsoft.com/office/drawing/2014/main" val="107300974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#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err="1"/>
                        <a:t>Title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Le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Du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err="1"/>
                        <a:t>Sub-mitted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err="1"/>
                        <a:t>Deviations</a:t>
                      </a:r>
                      <a:r>
                        <a:rPr lang="fr-FR" dirty="0"/>
                        <a:t> / </a:t>
                      </a:r>
                      <a:r>
                        <a:rPr lang="fr-FR" dirty="0" err="1"/>
                        <a:t>Measures</a:t>
                      </a:r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212400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fr-FR" dirty="0"/>
                        <a:t>D2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thical</a:t>
                      </a:r>
                      <a:r>
                        <a:rPr lang="de-DE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legal, </a:t>
                      </a:r>
                      <a:r>
                        <a:rPr lang="de-DE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ocietal</a:t>
                      </a:r>
                      <a:r>
                        <a:rPr lang="de-DE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pects</a:t>
                      </a:r>
                      <a:r>
                        <a:rPr lang="de-DE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5 </a:t>
                      </a:r>
                      <a:r>
                        <a:rPr lang="de-DE" dirty="0" err="1"/>
                        <a:t>UNamu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M12 </a:t>
                      </a:r>
                      <a:br>
                        <a:rPr lang="de-DE" dirty="0"/>
                      </a:br>
                      <a:r>
                        <a:rPr lang="de-DE" dirty="0"/>
                        <a:t>= Jan 20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–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dirty="0"/>
                        <a:t>no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5634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fr-FR" dirty="0"/>
                        <a:t>D2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rst internal ELSA </a:t>
                      </a:r>
                      <a:r>
                        <a:rPr lang="de-DE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dit</a:t>
                      </a:r>
                      <a:r>
                        <a:rPr lang="de-DE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pervision</a:t>
                      </a:r>
                      <a:r>
                        <a:rPr lang="de-DE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port</a:t>
                      </a:r>
                      <a:r>
                        <a:rPr lang="de-DE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43 INO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M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/>
                        <a:t>–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dirty="0"/>
                        <a:t>no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78061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fr-FR" dirty="0"/>
                        <a:t>D2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ey </a:t>
                      </a:r>
                      <a:r>
                        <a:rPr lang="de-DE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allenges</a:t>
                      </a:r>
                      <a:r>
                        <a:rPr lang="de-DE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romising </a:t>
                      </a:r>
                      <a:r>
                        <a:rPr lang="de-DE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olution</a:t>
                      </a:r>
                      <a:r>
                        <a:rPr lang="de-DE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pproaches</a:t>
                      </a:r>
                      <a:r>
                        <a:rPr lang="de-DE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35 MR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M24 </a:t>
                      </a:r>
                      <a:br>
                        <a:rPr lang="de-DE" dirty="0"/>
                      </a:br>
                      <a:r>
                        <a:rPr lang="de-DE" dirty="0"/>
                        <a:t>= Jan 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/>
                        <a:t>–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dirty="0"/>
                        <a:t>no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370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fr-FR" dirty="0"/>
                        <a:t>D2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cond internal ELSA </a:t>
                      </a:r>
                      <a:r>
                        <a:rPr lang="de-DE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dit</a:t>
                      </a:r>
                      <a:r>
                        <a:rPr lang="de-DE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pervision</a:t>
                      </a:r>
                      <a:r>
                        <a:rPr lang="de-DE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port</a:t>
                      </a:r>
                      <a:r>
                        <a:rPr lang="de-DE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de-DE" dirty="0"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43 INO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M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/>
                        <a:t>–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dirty="0"/>
                        <a:t>no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815897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fr-FR" dirty="0"/>
                        <a:t>D2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crete</a:t>
                      </a:r>
                      <a:r>
                        <a:rPr lang="de-DE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ELSA </a:t>
                      </a:r>
                      <a:r>
                        <a:rPr lang="de-DE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olutions</a:t>
                      </a:r>
                      <a:r>
                        <a:rPr lang="de-DE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rom</a:t>
                      </a:r>
                      <a:r>
                        <a:rPr lang="de-DE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de-DE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PARTA </a:t>
                      </a:r>
                      <a:r>
                        <a:rPr lang="de-DE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grams</a:t>
                      </a:r>
                      <a:r>
                        <a:rPr lang="de-DE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de-DE" dirty="0"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0 Fraunhof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M36 </a:t>
                      </a:r>
                      <a:br>
                        <a:rPr lang="de-DE" dirty="0"/>
                      </a:br>
                      <a:r>
                        <a:rPr lang="de-DE" dirty="0"/>
                        <a:t>= Jan 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/>
                        <a:t>–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dirty="0"/>
                        <a:t>no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19556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fr-FR" dirty="0"/>
                        <a:t>D2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eneral </a:t>
                      </a:r>
                      <a:r>
                        <a:rPr lang="de-DE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uidelines</a:t>
                      </a:r>
                      <a:r>
                        <a:rPr lang="de-DE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</a:t>
                      </a:r>
                      <a:r>
                        <a:rPr lang="de-DE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ponsible</a:t>
                      </a:r>
                      <a:r>
                        <a:rPr lang="de-DE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ybersecurity</a:t>
                      </a:r>
                      <a:r>
                        <a:rPr lang="de-DE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earch</a:t>
                      </a:r>
                      <a:r>
                        <a:rPr lang="de-DE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novation</a:t>
                      </a:r>
                      <a:r>
                        <a:rPr lang="de-DE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de-DE" dirty="0"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0 Fraunhof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M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/>
                        <a:t>–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dirty="0"/>
                        <a:t>no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49375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fr-FR" dirty="0"/>
                        <a:t>D2.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nal internal ELSA </a:t>
                      </a:r>
                      <a:r>
                        <a:rPr lang="de-DE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dit</a:t>
                      </a:r>
                      <a:r>
                        <a:rPr lang="de-DE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pervision</a:t>
                      </a:r>
                      <a:r>
                        <a:rPr lang="de-DE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port</a:t>
                      </a:r>
                      <a:r>
                        <a:rPr lang="de-DE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de-DE" dirty="0"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43 INO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M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/>
                        <a:t>–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/>
                        <a:t>none</a:t>
                      </a:r>
                    </a:p>
                    <a:p>
                      <a:pPr algn="l"/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98764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359606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E93801-412A-484C-BE27-082ED3F8B3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SKS</a:t>
            </a:r>
            <a:endParaRPr lang="en-US" dirty="0">
              <a:solidFill>
                <a:schemeClr val="accent1"/>
              </a:solidFill>
            </a:endParaRP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53368812-1430-F345-876B-62E27FD5D86D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1638855986"/>
              </p:ext>
            </p:extLst>
          </p:nvPr>
        </p:nvGraphicFramePr>
        <p:xfrm>
          <a:off x="442913" y="1343025"/>
          <a:ext cx="10368001" cy="2941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8944">
                  <a:extLst>
                    <a:ext uri="{9D8B030D-6E8A-4147-A177-3AD203B41FA5}">
                      <a16:colId xmlns:a16="http://schemas.microsoft.com/office/drawing/2014/main" val="3070882286"/>
                    </a:ext>
                  </a:extLst>
                </a:gridCol>
                <a:gridCol w="3722197">
                  <a:extLst>
                    <a:ext uri="{9D8B030D-6E8A-4147-A177-3AD203B41FA5}">
                      <a16:colId xmlns:a16="http://schemas.microsoft.com/office/drawing/2014/main" val="1424732837"/>
                    </a:ext>
                  </a:extLst>
                </a:gridCol>
                <a:gridCol w="1064455">
                  <a:extLst>
                    <a:ext uri="{9D8B030D-6E8A-4147-A177-3AD203B41FA5}">
                      <a16:colId xmlns:a16="http://schemas.microsoft.com/office/drawing/2014/main" val="1845916951"/>
                    </a:ext>
                  </a:extLst>
                </a:gridCol>
                <a:gridCol w="1256825">
                  <a:extLst>
                    <a:ext uri="{9D8B030D-6E8A-4147-A177-3AD203B41FA5}">
                      <a16:colId xmlns:a16="http://schemas.microsoft.com/office/drawing/2014/main" val="522750547"/>
                    </a:ext>
                  </a:extLst>
                </a:gridCol>
                <a:gridCol w="3515580">
                  <a:extLst>
                    <a:ext uri="{9D8B030D-6E8A-4147-A177-3AD203B41FA5}">
                      <a16:colId xmlns:a16="http://schemas.microsoft.com/office/drawing/2014/main" val="107300974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#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err="1"/>
                        <a:t>Title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Occurre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D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err="1"/>
                        <a:t>Measures</a:t>
                      </a:r>
                      <a:r>
                        <a:rPr lang="fr-FR" dirty="0"/>
                        <a:t> </a:t>
                      </a:r>
                      <a:r>
                        <a:rPr lang="fr-FR" dirty="0" err="1"/>
                        <a:t>deployed</a:t>
                      </a:r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212400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fr-FR" dirty="0"/>
                        <a:t>R2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dirty="0"/>
                        <a:t>Limited interaction </a:t>
                      </a:r>
                      <a:r>
                        <a:rPr lang="fr-FR" dirty="0" err="1"/>
                        <a:t>with</a:t>
                      </a:r>
                      <a:r>
                        <a:rPr lang="fr-FR" dirty="0"/>
                        <a:t> programs and </a:t>
                      </a:r>
                      <a:r>
                        <a:rPr lang="fr-FR" dirty="0" err="1"/>
                        <a:t>other</a:t>
                      </a:r>
                      <a:r>
                        <a:rPr lang="fr-FR" dirty="0"/>
                        <a:t> </a:t>
                      </a:r>
                      <a:r>
                        <a:rPr lang="fr-FR" dirty="0" err="1"/>
                        <a:t>activities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n/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20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dirty="0"/>
                        <a:t>All </a:t>
                      </a:r>
                      <a:r>
                        <a:rPr lang="fr-FR" dirty="0" err="1"/>
                        <a:t>partners</a:t>
                      </a:r>
                      <a:r>
                        <a:rPr lang="fr-FR" dirty="0"/>
                        <a:t> have been </a:t>
                      </a:r>
                      <a:r>
                        <a:rPr lang="fr-FR" dirty="0" err="1"/>
                        <a:t>reminded</a:t>
                      </a:r>
                      <a:endParaRPr lang="fr-FR" dirty="0"/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fr-FR" dirty="0"/>
                        <a:t>to </a:t>
                      </a:r>
                      <a:r>
                        <a:rPr lang="fr-FR" dirty="0" err="1"/>
                        <a:t>provide</a:t>
                      </a:r>
                      <a:r>
                        <a:rPr lang="fr-FR" dirty="0"/>
                        <a:t> input for the </a:t>
                      </a:r>
                      <a:r>
                        <a:rPr lang="fr-FR" dirty="0" err="1"/>
                        <a:t>ongoing</a:t>
                      </a:r>
                      <a:r>
                        <a:rPr lang="fr-FR" dirty="0"/>
                        <a:t> </a:t>
                      </a:r>
                      <a:r>
                        <a:rPr lang="fr-FR" dirty="0" err="1"/>
                        <a:t>work</a:t>
                      </a:r>
                      <a:r>
                        <a:rPr lang="fr-FR" dirty="0"/>
                        <a:t> in </a:t>
                      </a:r>
                      <a:r>
                        <a:rPr lang="fr-FR" dirty="0" err="1"/>
                        <a:t>task</a:t>
                      </a:r>
                      <a:r>
                        <a:rPr lang="fr-FR" dirty="0"/>
                        <a:t> 2.1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fr-FR" dirty="0"/>
                        <a:t>to attend WP 2 </a:t>
                      </a:r>
                      <a:r>
                        <a:rPr lang="fr-FR" dirty="0" err="1"/>
                        <a:t>events</a:t>
                      </a:r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5634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fr-FR" dirty="0"/>
                        <a:t>RX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Y/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MX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78061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fr-FR" dirty="0"/>
                        <a:t>RX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/>
                        <a:t>Y/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MX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370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fr-FR" dirty="0"/>
                        <a:t>RX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/>
                        <a:t>Y/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MX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8158972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833437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E93801-412A-484C-BE27-082ED3F8B3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PI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C238AC6-3F1F-F24B-9C96-43B6577A2FC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fr-FR" dirty="0"/>
          </a:p>
        </p:txBody>
      </p:sp>
      <p:graphicFrame>
        <p:nvGraphicFramePr>
          <p:cNvPr id="6" name="Content Placeholder 6">
            <a:extLst>
              <a:ext uri="{FF2B5EF4-FFF2-40B4-BE49-F238E27FC236}">
                <a16:creationId xmlns:a16="http://schemas.microsoft.com/office/drawing/2014/main" id="{7E19D5A0-DA8E-394A-8D09-44960036625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79387757"/>
              </p:ext>
            </p:extLst>
          </p:nvPr>
        </p:nvGraphicFramePr>
        <p:xfrm>
          <a:off x="442913" y="1343025"/>
          <a:ext cx="10367962" cy="2667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67430">
                  <a:extLst>
                    <a:ext uri="{9D8B030D-6E8A-4147-A177-3AD203B41FA5}">
                      <a16:colId xmlns:a16="http://schemas.microsoft.com/office/drawing/2014/main" val="3749951854"/>
                    </a:ext>
                  </a:extLst>
                </a:gridCol>
                <a:gridCol w="2948701">
                  <a:extLst>
                    <a:ext uri="{9D8B030D-6E8A-4147-A177-3AD203B41FA5}">
                      <a16:colId xmlns:a16="http://schemas.microsoft.com/office/drawing/2014/main" val="4258898409"/>
                    </a:ext>
                  </a:extLst>
                </a:gridCol>
                <a:gridCol w="1734015">
                  <a:extLst>
                    <a:ext uri="{9D8B030D-6E8A-4147-A177-3AD203B41FA5}">
                      <a16:colId xmlns:a16="http://schemas.microsoft.com/office/drawing/2014/main" val="390080502"/>
                    </a:ext>
                  </a:extLst>
                </a:gridCol>
                <a:gridCol w="1734015">
                  <a:extLst>
                    <a:ext uri="{9D8B030D-6E8A-4147-A177-3AD203B41FA5}">
                      <a16:colId xmlns:a16="http://schemas.microsoft.com/office/drawing/2014/main" val="2210854255"/>
                    </a:ext>
                  </a:extLst>
                </a:gridCol>
                <a:gridCol w="3283801">
                  <a:extLst>
                    <a:ext uri="{9D8B030D-6E8A-4147-A177-3AD203B41FA5}">
                      <a16:colId xmlns:a16="http://schemas.microsoft.com/office/drawing/2014/main" val="329955627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noProof="0" dirty="0"/>
                        <a:t>#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noProof="0" dirty="0"/>
                        <a:t>Descrip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noProof="0" dirty="0"/>
                        <a:t>M12 </a:t>
                      </a:r>
                      <a:r>
                        <a:rPr lang="fr-FR" noProof="0" dirty="0" err="1"/>
                        <a:t>target</a:t>
                      </a:r>
                      <a:endParaRPr lang="fr-FR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noProof="0" dirty="0"/>
                        <a:t>M06 </a:t>
                      </a:r>
                      <a:r>
                        <a:rPr lang="fr-FR" noProof="0" dirty="0" err="1"/>
                        <a:t>status</a:t>
                      </a:r>
                      <a:endParaRPr lang="fr-FR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noProof="0" dirty="0" err="1"/>
                        <a:t>Deviations</a:t>
                      </a:r>
                      <a:r>
                        <a:rPr lang="fr-FR" noProof="0" dirty="0"/>
                        <a:t> / </a:t>
                      </a:r>
                      <a:r>
                        <a:rPr lang="fr-FR" noProof="0" dirty="0" err="1"/>
                        <a:t>Measures</a:t>
                      </a:r>
                      <a:endParaRPr lang="fr-FR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7154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fr-FR" noProof="0" dirty="0"/>
                        <a:t>3.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noProof="0" dirty="0"/>
                        <a:t>Share of </a:t>
                      </a:r>
                      <a:r>
                        <a:rPr lang="fr-FR" noProof="0" dirty="0" err="1"/>
                        <a:t>women</a:t>
                      </a:r>
                      <a:r>
                        <a:rPr lang="fr-FR" noProof="0" dirty="0"/>
                        <a:t> in groups and workshop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noProof="0" dirty="0"/>
                        <a:t>+1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noProof="0" dirty="0"/>
                        <a:t>–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noProof="0" dirty="0"/>
                        <a:t>First workshop </a:t>
                      </a:r>
                      <a:r>
                        <a:rPr lang="fr-FR" noProof="0" dirty="0" err="1"/>
                        <a:t>later</a:t>
                      </a:r>
                      <a:r>
                        <a:rPr lang="fr-FR" noProof="0" dirty="0"/>
                        <a:t> </a:t>
                      </a:r>
                      <a:r>
                        <a:rPr lang="fr-FR" noProof="0" dirty="0" err="1"/>
                        <a:t>today</a:t>
                      </a:r>
                      <a:endParaRPr lang="fr-FR" noProof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815091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fr-FR" noProof="0" dirty="0"/>
                        <a:t>7.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noProof="0" dirty="0"/>
                        <a:t># of </a:t>
                      </a:r>
                      <a:r>
                        <a:rPr lang="fr-FR" noProof="0" dirty="0" err="1"/>
                        <a:t>responsible</a:t>
                      </a:r>
                      <a:r>
                        <a:rPr lang="fr-FR" noProof="0" dirty="0"/>
                        <a:t> </a:t>
                      </a:r>
                      <a:r>
                        <a:rPr lang="fr-FR" noProof="0" dirty="0" err="1"/>
                        <a:t>research</a:t>
                      </a:r>
                      <a:r>
                        <a:rPr lang="fr-FR" noProof="0" dirty="0"/>
                        <a:t> and innovation </a:t>
                      </a:r>
                      <a:r>
                        <a:rPr lang="fr-FR" noProof="0" dirty="0" err="1"/>
                        <a:t>debates</a:t>
                      </a:r>
                      <a:r>
                        <a:rPr lang="fr-FR" noProof="0" dirty="0"/>
                        <a:t> and # of participan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noProof="0" dirty="0"/>
                        <a:t>1 </a:t>
                      </a:r>
                      <a:r>
                        <a:rPr lang="fr-FR" noProof="0" dirty="0" err="1"/>
                        <a:t>debate</a:t>
                      </a:r>
                      <a:endParaRPr lang="fr-FR" noProof="0" dirty="0"/>
                    </a:p>
                    <a:p>
                      <a:pPr algn="ctr"/>
                      <a:r>
                        <a:rPr lang="fr-FR" noProof="0" dirty="0"/>
                        <a:t>+22 part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noProof="0" dirty="0"/>
                        <a:t>–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noProof="0" dirty="0"/>
                        <a:t>First workshop </a:t>
                      </a:r>
                      <a:r>
                        <a:rPr lang="fr-FR" noProof="0" dirty="0" err="1"/>
                        <a:t>later</a:t>
                      </a:r>
                      <a:r>
                        <a:rPr lang="fr-FR" noProof="0" dirty="0"/>
                        <a:t> </a:t>
                      </a:r>
                      <a:r>
                        <a:rPr lang="fr-FR" noProof="0" dirty="0" err="1"/>
                        <a:t>today</a:t>
                      </a:r>
                      <a:endParaRPr lang="fr-FR" noProof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314690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endParaRPr lang="fr-FR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fr-FR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fr-FR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fr-FR" noProof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067104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endParaRPr lang="fr-FR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fr-FR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fr-FR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fr-FR" noProof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059982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327602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D4B3A2-038E-1B4B-875A-3060D4EC60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Miscellaneous</a:t>
            </a:r>
            <a:endParaRPr lang="fr-FR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38B4F8-5719-A645-B70A-95F1E8636AC0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766708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0HQCq7Sli1riiOwb7WT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G5XY7nRzmvtwuV3NL.z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G5XY7nRzmvtwuV3NL.z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G5XY7nRzmvtwuV3NL.z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G5XY7nRzmvtwuV3NL.z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G5XY7nRzmvtwuV3NL.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0HQCq7Sli1riiOwb7WT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0HQCq7Sli1riiOwb7WT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0HQCq7Sli1riiOwb7WT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0HQCq7Sli1riiOwb7WTA"/>
</p:tagLst>
</file>

<file path=ppt/theme/theme1.xml><?xml version="1.0" encoding="utf-8"?>
<a:theme xmlns:a="http://schemas.openxmlformats.org/drawingml/2006/main" name="Office Theme">
  <a:themeElements>
    <a:clrScheme name="Custom 353">
      <a:dk1>
        <a:srgbClr val="000000"/>
      </a:dk1>
      <a:lt1>
        <a:sysClr val="window" lastClr="FFFFFF"/>
      </a:lt1>
      <a:dk2>
        <a:srgbClr val="445467"/>
      </a:dk2>
      <a:lt2>
        <a:srgbClr val="E7E6E6"/>
      </a:lt2>
      <a:accent1>
        <a:srgbClr val="BC2026"/>
      </a:accent1>
      <a:accent2>
        <a:srgbClr val="F47D60"/>
      </a:accent2>
      <a:accent3>
        <a:srgbClr val="F1553D"/>
      </a:accent3>
      <a:accent4>
        <a:srgbClr val="931A1D"/>
      </a:accent4>
      <a:accent5>
        <a:srgbClr val="F9AC91"/>
      </a:accent5>
      <a:accent6>
        <a:srgbClr val="B4B4B4"/>
      </a:accent6>
      <a:hlink>
        <a:srgbClr val="F47D60"/>
      </a:hlink>
      <a:folHlink>
        <a:srgbClr val="F1553D"/>
      </a:folHlink>
    </a:clrScheme>
    <a:fontScheme name="Custom 8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43742752-C9DF-4E10-B1C2-B4249C77DD57}" vid="{894653B2-B35C-4F27-BCE8-0C817B610E2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501</Words>
  <Application>Microsoft Macintosh PowerPoint</Application>
  <PresentationFormat>Breitbild</PresentationFormat>
  <Paragraphs>158</Paragraphs>
  <Slides>8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4" baseType="lpstr">
      <vt:lpstr>Wingdings 3</vt:lpstr>
      <vt:lpstr>BatangChe</vt:lpstr>
      <vt:lpstr>Arial</vt:lpstr>
      <vt:lpstr>Lato Semibold</vt:lpstr>
      <vt:lpstr>Office Theme</vt:lpstr>
      <vt:lpstr>think-cell Slide</vt:lpstr>
      <vt:lpstr>Responsibility Activity (WP 2)</vt:lpstr>
      <vt:lpstr>Participants and ROLES</vt:lpstr>
      <vt:lpstr>Objectives</vt:lpstr>
      <vt:lpstr>Tasks</vt:lpstr>
      <vt:lpstr>Deliverables</vt:lpstr>
      <vt:lpstr>RISKS</vt:lpstr>
      <vt:lpstr>KPI</vt:lpstr>
      <vt:lpstr>Miscellaneous</vt:lpstr>
    </vt:vector>
  </TitlesOfParts>
  <Company>Grizli777</Company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oca</dc:creator>
  <cp:lastModifiedBy> </cp:lastModifiedBy>
  <cp:revision>1105</cp:revision>
  <dcterms:created xsi:type="dcterms:W3CDTF">2016-11-27T15:46:03Z</dcterms:created>
  <dcterms:modified xsi:type="dcterms:W3CDTF">2019-09-18T09:27:29Z</dcterms:modified>
</cp:coreProperties>
</file>